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6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8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9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0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1.xml" ContentType="application/vnd.openxmlformats-officedocument.theme+xml"/>
  <Override PartName="/ppt/slideLayouts/slideLayout96.xml" ContentType="application/vnd.openxmlformats-officedocument.presentationml.slideLayout+xml"/>
  <Override PartName="/ppt/theme/theme12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3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4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5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4"/>
    <p:sldMasterId id="2147483661" r:id="rId5"/>
    <p:sldMasterId id="2147483664" r:id="rId6"/>
    <p:sldMasterId id="2147483673" r:id="rId7"/>
    <p:sldMasterId id="2147483682" r:id="rId8"/>
    <p:sldMasterId id="2147483724" r:id="rId9"/>
    <p:sldMasterId id="2147483736" r:id="rId10"/>
    <p:sldMasterId id="2147483750" r:id="rId11"/>
    <p:sldMasterId id="2147483771" r:id="rId12"/>
    <p:sldMasterId id="2147483794" r:id="rId13"/>
    <p:sldMasterId id="2147483798" r:id="rId14"/>
    <p:sldMasterId id="2147483806" r:id="rId15"/>
    <p:sldMasterId id="2147483808" r:id="rId16"/>
    <p:sldMasterId id="2147483815" r:id="rId17"/>
    <p:sldMasterId id="2147483823" r:id="rId18"/>
    <p:sldMasterId id="2147483837" r:id="rId19"/>
  </p:sldMasterIdLst>
  <p:notesMasterIdLst>
    <p:notesMasterId r:id="rId41"/>
  </p:notesMasterIdLst>
  <p:handoutMasterIdLst>
    <p:handoutMasterId r:id="rId42"/>
  </p:handoutMasterIdLst>
  <p:sldIdLst>
    <p:sldId id="392" r:id="rId20"/>
    <p:sldId id="430" r:id="rId21"/>
    <p:sldId id="433" r:id="rId22"/>
    <p:sldId id="413" r:id="rId23"/>
    <p:sldId id="423" r:id="rId24"/>
    <p:sldId id="432" r:id="rId25"/>
    <p:sldId id="431" r:id="rId26"/>
    <p:sldId id="428" r:id="rId27"/>
    <p:sldId id="429" r:id="rId28"/>
    <p:sldId id="434" r:id="rId29"/>
    <p:sldId id="424" r:id="rId30"/>
    <p:sldId id="437" r:id="rId31"/>
    <p:sldId id="439" r:id="rId32"/>
    <p:sldId id="446" r:id="rId33"/>
    <p:sldId id="445" r:id="rId34"/>
    <p:sldId id="443" r:id="rId35"/>
    <p:sldId id="444" r:id="rId36"/>
    <p:sldId id="442" r:id="rId37"/>
    <p:sldId id="436" r:id="rId38"/>
    <p:sldId id="427" r:id="rId39"/>
    <p:sldId id="425" r:id="rId40"/>
  </p:sldIdLst>
  <p:sldSz cx="9144000" cy="5143500" type="screen16x9"/>
  <p:notesSz cx="6934200" cy="9220200"/>
  <p:defaultTextStyle>
    <a:defPPr>
      <a:defRPr lang="en-US"/>
    </a:defPPr>
    <a:lvl1pPr marL="0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7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4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11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482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352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223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094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963" algn="l" defTabSz="342871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4" userDrawn="1">
          <p15:clr>
            <a:srgbClr val="A4A3A4"/>
          </p15:clr>
        </p15:guide>
        <p15:guide id="2" pos="218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6A"/>
    <a:srgbClr val="E200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807" autoAdjust="0"/>
    <p:restoredTop sz="84262" autoAdjust="0"/>
  </p:normalViewPr>
  <p:slideViewPr>
    <p:cSldViewPr snapToGrid="0" snapToObjects="1">
      <p:cViewPr>
        <p:scale>
          <a:sx n="140" d="100"/>
          <a:sy n="140" d="100"/>
        </p:scale>
        <p:origin x="2296" y="81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2712" y="96"/>
      </p:cViewPr>
      <p:guideLst>
        <p:guide orient="horz" pos="2904"/>
        <p:guide pos="218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slide" Target="slides/slide20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slide" Target="slides/slide2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46" Type="http://schemas.openxmlformats.org/officeDocument/2006/relationships/tableStyles" Target="tableStyles.xml"/><Relationship Id="rId20" Type="http://schemas.openxmlformats.org/officeDocument/2006/relationships/slide" Target="slides/slide1.xml"/><Relationship Id="rId41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/>
          <a:lstStyle>
            <a:lvl1pPr algn="l">
              <a:defRPr sz="1200"/>
            </a:lvl1pPr>
          </a:lstStyle>
          <a:p>
            <a:endParaRPr lang="en-US" dirty="0">
              <a:latin typeface="Tele-GroteskFet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184" y="0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/>
          <a:lstStyle>
            <a:lvl1pPr algn="r">
              <a:defRPr sz="1200"/>
            </a:lvl1pPr>
          </a:lstStyle>
          <a:p>
            <a:fld id="{BD364A1E-6E60-4CD6-B2F0-4356C26C9977}" type="datetimeFigureOut">
              <a:rPr lang="en-US" smtClean="0">
                <a:latin typeface="Tele-GroteskFet" pitchFamily="2" charset="0"/>
              </a:rPr>
              <a:pPr/>
              <a:t>12/6/20</a:t>
            </a:fld>
            <a:endParaRPr lang="en-US" dirty="0">
              <a:latin typeface="Tele-GroteskFet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57302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 anchor="b"/>
          <a:lstStyle>
            <a:lvl1pPr algn="l">
              <a:defRPr sz="1200"/>
            </a:lvl1pPr>
          </a:lstStyle>
          <a:p>
            <a:endParaRPr lang="en-US" dirty="0">
              <a:latin typeface="Tele-GroteskFet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183" y="8757301"/>
            <a:ext cx="3005448" cy="462899"/>
          </a:xfrm>
          <a:prstGeom prst="rect">
            <a:avLst/>
          </a:prstGeom>
        </p:spPr>
        <p:txBody>
          <a:bodyPr vert="horz" lIns="90580" tIns="45290" rIns="90580" bIns="45290" rtlCol="0" anchor="b"/>
          <a:lstStyle>
            <a:lvl1pPr algn="r">
              <a:defRPr sz="1200"/>
            </a:lvl1pPr>
          </a:lstStyle>
          <a:p>
            <a:fld id="{AFF7B38F-DBD3-46D3-B639-1C4522B4B0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895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/>
          <a:lstStyle>
            <a:lvl1pPr algn="l">
              <a:defRPr sz="1200">
                <a:latin typeface="Tele-GroteskFet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184" y="0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/>
          <a:lstStyle>
            <a:lvl1pPr algn="r">
              <a:defRPr sz="1200">
                <a:latin typeface="Tele-GroteskFet" pitchFamily="2" charset="0"/>
              </a:defRPr>
            </a:lvl1pPr>
          </a:lstStyle>
          <a:p>
            <a:fld id="{B6B915B9-B80B-41A1-AD12-80536BCB267C}" type="datetimeFigureOut">
              <a:rPr lang="en-US" smtClean="0"/>
              <a:pPr/>
              <a:t>12/6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0563"/>
            <a:ext cx="61468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572" tIns="45286" rIns="90572" bIns="452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4048" y="4380225"/>
            <a:ext cx="5546104" cy="4148776"/>
          </a:xfrm>
          <a:prstGeom prst="rect">
            <a:avLst/>
          </a:prstGeom>
        </p:spPr>
        <p:txBody>
          <a:bodyPr vert="horz" lIns="90572" tIns="45286" rIns="90572" bIns="4528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757302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 anchor="b"/>
          <a:lstStyle>
            <a:lvl1pPr algn="l">
              <a:defRPr sz="1200">
                <a:latin typeface="Tele-GroteskFet" pitchFamily="2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184" y="8757302"/>
            <a:ext cx="3005448" cy="461325"/>
          </a:xfrm>
          <a:prstGeom prst="rect">
            <a:avLst/>
          </a:prstGeom>
        </p:spPr>
        <p:txBody>
          <a:bodyPr vert="horz" lIns="90572" tIns="45286" rIns="90572" bIns="45286" rtlCol="0" anchor="b"/>
          <a:lstStyle>
            <a:lvl1pPr algn="r">
              <a:defRPr sz="1200">
                <a:latin typeface="Tele-GroteskFet" pitchFamily="2" charset="0"/>
              </a:defRPr>
            </a:lvl1pPr>
          </a:lstStyle>
          <a:p>
            <a:fld id="{828D7002-10C4-4E85-AF1E-2279343860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89509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4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342871" algn="l" defTabSz="68574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685741" algn="l" defTabSz="68574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028611" algn="l" defTabSz="68574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371482" algn="l" defTabSz="685741" rtl="0" eaLnBrk="1" latinLnBrk="0" hangingPunct="1"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1714352" algn="l" defTabSz="68574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2057223" algn="l" defTabSz="68574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400094" algn="l" defTabSz="68574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742963" algn="l" defTabSz="685741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8D7002-10C4-4E85-AF1E-2279343860D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4779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6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6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6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3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6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50.jpe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9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jp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jp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9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4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3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1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jp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jp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10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1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13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1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818817" y="2142400"/>
            <a:ext cx="485304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40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COVER SLID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4132" y="2630237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4032" y="1655064"/>
            <a:ext cx="1453896" cy="238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876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3372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361" y="1619229"/>
            <a:ext cx="1681361" cy="61009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1545" y="2132178"/>
            <a:ext cx="450532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0" i="0">
                <a:solidFill>
                  <a:srgbClr val="E20074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240" y="2564823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i="0">
                <a:solidFill>
                  <a:srgbClr val="E20074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90945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F8687CF-B3E5-48FF-B164-DEF396F0CB57}" type="datetimeFigureOut">
              <a:rPr lang="en-US" smtClean="0"/>
              <a:t>12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F9F112EB-34CA-49C9-97F2-5CED9377BD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66246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CF8687CF-B3E5-48FF-B164-DEF396F0CB57}" type="datetimeFigureOut">
              <a:rPr lang="en-US" smtClean="0"/>
              <a:t>12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F9F112EB-34CA-49C9-97F2-5CED9377BDB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44513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17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315656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1475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pic>
        <p:nvPicPr>
          <p:cNvPr id="8" name="Picture 7" descr="T-Mobile Standard RO Whit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pic>
        <p:nvPicPr>
          <p:cNvPr id="12" name="Picture 17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315656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42978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 Slide_Al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717370" y="877824"/>
            <a:ext cx="6233437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0"/>
            <a:ext cx="2895600" cy="151607"/>
          </a:xfrm>
        </p:spPr>
        <p:txBody>
          <a:bodyPr/>
          <a:lstStyle/>
          <a:p>
            <a:r>
              <a:rPr lang="en-US" dirty="0"/>
              <a:t>T-Mobile Confidential</a:t>
            </a:r>
          </a:p>
        </p:txBody>
      </p:sp>
      <p:pic>
        <p:nvPicPr>
          <p:cNvPr id="11" name="Picture 17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315656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3574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535686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0"/>
            <a:ext cx="2895600" cy="151607"/>
          </a:xfrm>
        </p:spPr>
        <p:txBody>
          <a:bodyPr/>
          <a:lstStyle/>
          <a:p>
            <a:r>
              <a:rPr lang="en-US" dirty="0"/>
              <a:t>T-Mobile Confidential</a:t>
            </a:r>
          </a:p>
        </p:txBody>
      </p:sp>
      <p:pic>
        <p:nvPicPr>
          <p:cNvPr id="21" name="Picture 20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679218" y="201168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315656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40398827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127167" y="547548"/>
            <a:ext cx="4852241" cy="428903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840" y="0"/>
            <a:ext cx="3944287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11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tx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tx1"/>
              </a:solidFill>
              <a:latin typeface="Tele-GroteskNor" pitchFamily="2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79218" y="201168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3644098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43367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5492206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chemeClr val="bg1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chemeClr val="bg1"/>
              </a:solidFill>
              <a:latin typeface="Tele-GroteskNor" pitchFamily="2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655113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48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11425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ody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4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330055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948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61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639438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182878" y="873050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9"/>
            <a:ext cx="9144000" cy="27146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7" name="Picture 16" descr="T-Mobile Standard RO Whit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7367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28272496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4872039"/>
            <a:ext cx="9144000" cy="27146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7" name="Content Placeholder 5"/>
          <p:cNvSpPr>
            <a:spLocks noGrp="1"/>
          </p:cNvSpPr>
          <p:nvPr>
            <p:ph sz="quarter" idx="12"/>
          </p:nvPr>
        </p:nvSpPr>
        <p:spPr>
          <a:xfrm>
            <a:off x="182626" y="878111"/>
            <a:ext cx="4297680" cy="388286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10"/>
          <p:cNvSpPr>
            <a:spLocks noGrp="1"/>
          </p:cNvSpPr>
          <p:nvPr>
            <p:ph sz="quarter" idx="13"/>
          </p:nvPr>
        </p:nvSpPr>
        <p:spPr>
          <a:xfrm>
            <a:off x="4666234" y="877825"/>
            <a:ext cx="4297680" cy="3882865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0" name="Picture 19" descr="T-Mobile Standard RO Whit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736769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40866013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1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1"/>
            <a:ext cx="2895600" cy="151607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quarter" idx="12"/>
          </p:nvPr>
        </p:nvSpPr>
        <p:spPr>
          <a:xfrm>
            <a:off x="3638550" y="877825"/>
            <a:ext cx="5312257" cy="39075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Picture 18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8772" y="1"/>
            <a:ext cx="9144000" cy="736769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00919175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2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82879" y="877825"/>
            <a:ext cx="5427345" cy="38657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4872039"/>
            <a:ext cx="9144000" cy="27146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1"/>
            <a:ext cx="2895600" cy="151607"/>
          </a:xfrm>
        </p:spPr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9144000" cy="73676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18" name="Picture 17" descr="T-Mobile Standard RO White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0801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68" y="-521"/>
            <a:ext cx="3883019" cy="51435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5"/>
            <a:ext cx="3560445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13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7" y="4889817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986948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3987800" y="146305"/>
            <a:ext cx="5007041" cy="48210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68" y="-521"/>
            <a:ext cx="3883019" cy="51435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5"/>
            <a:ext cx="3560445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4660888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4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186297" y="877824"/>
            <a:ext cx="5326063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185979" y="146305"/>
            <a:ext cx="53263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13" name="Picture 12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89803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ody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/>
              <a:t>Title of Slide</a:t>
            </a:r>
          </a:p>
        </p:txBody>
      </p:sp>
      <p:pic>
        <p:nvPicPr>
          <p:cNvPr id="9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7" y="4889817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586438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21200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inal Magenta">
    <p:bg>
      <p:bgPr>
        <a:solidFill>
          <a:srgbClr val="E2007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1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3504" y="2241550"/>
            <a:ext cx="2136993" cy="35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1492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8686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47D2226F-31D1-49DC-B863-6D56845547E3}" type="datetimeFigureOut">
              <a:rPr lang="en-US" smtClean="0"/>
              <a:t>12/6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28083229-EE53-4411-A3CA-E29C3CB872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833659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01957385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  <a:solidFill>
            <a:srgbClr val="E20074"/>
          </a:solidFill>
        </p:spPr>
        <p:txBody>
          <a:bodyPr>
            <a:noAutofit/>
          </a:bodyPr>
          <a:lstStyle>
            <a:lvl1pPr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64379904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dy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3938954" y="877824"/>
            <a:ext cx="502216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8955" y="146304"/>
            <a:ext cx="5022163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9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03994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49782165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94154247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01694764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3372443" y="983087"/>
            <a:ext cx="5310237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r"/>
            <a:r>
              <a:rPr lang="en-US" sz="19000" b="1" spc="-300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</a:t>
            </a:r>
            <a:r>
              <a:rPr lang="en-US" sz="13200" b="1" spc="3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</a:t>
            </a:r>
            <a:r>
              <a:rPr lang="en-US" sz="19000" b="1" dirty="0">
                <a:solidFill>
                  <a:srgbClr val="E2007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5253398" y="750276"/>
            <a:ext cx="3051140" cy="492927"/>
            <a:chOff x="5253398" y="750276"/>
            <a:chExt cx="3051140" cy="492927"/>
          </a:xfrm>
        </p:grpSpPr>
        <p:sp>
          <p:nvSpPr>
            <p:cNvPr id="5" name="TextBox 4"/>
            <p:cNvSpPr txBox="1"/>
            <p:nvPr userDrawn="1"/>
          </p:nvSpPr>
          <p:spPr>
            <a:xfrm>
              <a:off x="5746596" y="781538"/>
              <a:ext cx="25579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EXPEDITION</a:t>
              </a:r>
              <a:r>
                <a:rPr lang="en-US" sz="2400" baseline="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 </a:t>
              </a:r>
              <a:r>
                <a:rPr lang="en-US" sz="2400" dirty="0">
                  <a:solidFill>
                    <a:schemeClr val="accent1"/>
                  </a:solidFill>
                  <a:latin typeface="Tele-GroteskUlt" pitchFamily="2" charset="0"/>
                  <a:cs typeface="Arial" pitchFamily="34" charset="0"/>
                </a:rPr>
                <a:t>THREE</a:t>
              </a:r>
            </a:p>
          </p:txBody>
        </p:sp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53398" y="750276"/>
              <a:ext cx="461665" cy="461665"/>
            </a:xfrm>
            <a:prstGeom prst="rect">
              <a:avLst/>
            </a:prstGeom>
          </p:spPr>
        </p:pic>
      </p:grp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2689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6710686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460247" y="1570467"/>
            <a:ext cx="52763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3419880" y="2494325"/>
            <a:ext cx="54943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TENDING!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2689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5253398" y="750276"/>
            <a:ext cx="3051140" cy="492927"/>
            <a:chOff x="5253398" y="750276"/>
            <a:chExt cx="3051140" cy="492927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5746596" y="781538"/>
              <a:ext cx="25579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EXPEDITION</a:t>
              </a:r>
              <a:r>
                <a:rPr lang="en-US" sz="2400" baseline="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 </a:t>
              </a:r>
              <a:r>
                <a:rPr lang="en-US" sz="2400" dirty="0">
                  <a:solidFill>
                    <a:schemeClr val="accent1"/>
                  </a:solidFill>
                  <a:latin typeface="Tele-GroteskUlt" pitchFamily="2" charset="0"/>
                  <a:cs typeface="Arial" pitchFamily="34" charset="0"/>
                </a:rPr>
                <a:t>THREE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53398" y="750276"/>
              <a:ext cx="461665" cy="4616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662138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631" y="2071957"/>
            <a:ext cx="4728307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631" y="2626868"/>
            <a:ext cx="4728307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7884" y="4830660"/>
            <a:ext cx="1765716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000" smtClean="0">
                <a:solidFill>
                  <a:schemeClr val="bg1"/>
                </a:solidFill>
                <a:latin typeface="Tele-GroteskUlt" pitchFamily="2" charset="0"/>
              </a:rPr>
              <a:pPr/>
              <a:t>‹#›</a:t>
            </a:fld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| 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538316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4662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11527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72672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9119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6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182880" y="880657"/>
            <a:ext cx="5626249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658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ody Slide 7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7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664915" y="146304"/>
            <a:ext cx="5314493" cy="469027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315650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1107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ody Slide 8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3" name="Picture 12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sp>
        <p:nvSpPr>
          <p:cNvPr id="14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5691226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6605626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670465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6216" y="1574800"/>
            <a:ext cx="6619244" cy="2008236"/>
          </a:xfrm>
        </p:spPr>
        <p:txBody>
          <a:bodyPr anchor="b"/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866216" y="3583035"/>
            <a:ext cx="6619244" cy="646065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7619239" y="1344169"/>
            <a:ext cx="742949" cy="2285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3D80A1A7-3AA9-4E49-8FF0-BAD2EE8798DE}" type="datetimeFigureOut">
              <a:rPr lang="en-US" smtClean="0"/>
              <a:t>12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6713982" y="2420874"/>
            <a:ext cx="2894846" cy="2286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64406" y="221797"/>
            <a:ext cx="628649" cy="575765"/>
          </a:xfrm>
        </p:spPr>
        <p:txBody>
          <a:bodyPr/>
          <a:lstStyle/>
          <a:p>
            <a:fld id="{86CB4B4D-7CA3-9044-876B-883B54F867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042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4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224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4535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9967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963838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38316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982077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0040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81299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8812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699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tice of Confidentia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99697" y="1334814"/>
            <a:ext cx="7830206" cy="1313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40C39-5108-E841-85F7-F0B9C0D30E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biLevel thresh="50000"/>
          </a:blip>
          <a:stretch>
            <a:fillRect/>
          </a:stretch>
        </p:blipFill>
        <p:spPr>
          <a:xfrm>
            <a:off x="457200" y="395062"/>
            <a:ext cx="7510923" cy="373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6846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13760" y="2396155"/>
            <a:ext cx="822960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8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2230" y="3002361"/>
            <a:ext cx="6382765" cy="36428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7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29775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92510"/>
            <a:ext cx="9144000" cy="252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737" y="4938666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1153676" y="4910962"/>
            <a:ext cx="1063743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oud Strategy </a:t>
            </a:r>
          </a:p>
          <a:p>
            <a:pPr algn="l">
              <a:defRPr/>
            </a:pPr>
            <a:r>
              <a:rPr lang="en-US" sz="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Developmen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881" y="4892510"/>
            <a:ext cx="956940" cy="252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2017904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40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44508" y="147443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67737" y="4938666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1161522" y="4890490"/>
            <a:ext cx="1091855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 dirty="0">
                <a:solidFill>
                  <a:srgbClr val="FFFFFF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 dirty="0">
                <a:solidFill>
                  <a:srgbClr val="FFFFFF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505" y="4872040"/>
            <a:ext cx="1030844" cy="2714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1417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717374" y="877824"/>
            <a:ext cx="6233437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4896" y="147440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66369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182882" y="877824"/>
            <a:ext cx="535686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872040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4896" y="147440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11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4" y="0"/>
            <a:ext cx="4003380" cy="51435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127174" y="146312"/>
            <a:ext cx="4852241" cy="469027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2883" y="146312"/>
            <a:ext cx="3644099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23" b="25295"/>
          <a:stretch/>
        </p:blipFill>
        <p:spPr bwMode="auto">
          <a:xfrm>
            <a:off x="8191503" y="4953002"/>
            <a:ext cx="879871" cy="1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05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8679219" y="196855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03657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82886" y="877824"/>
            <a:ext cx="529505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12"/>
            <a:ext cx="8412480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9" y="196855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8066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ody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12"/>
            <a:ext cx="8412480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23" b="25295"/>
          <a:stretch/>
        </p:blipFill>
        <p:spPr bwMode="auto">
          <a:xfrm>
            <a:off x="8191503" y="4953002"/>
            <a:ext cx="879871" cy="1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800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05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8679219" y="196855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05778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944933" y="4933756"/>
            <a:ext cx="1153067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pPr defTabSz="342863"/>
            <a:fld id="{40421585-AB57-43A7-9A47-FC7A0B958991}" type="datetimeFigureOut">
              <a:rPr lang="en-US" smtClean="0">
                <a:solidFill>
                  <a:srgbClr val="FFFFFF"/>
                </a:solidFill>
              </a:rPr>
              <a:pPr defTabSz="342863"/>
              <a:t>12/6/2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13475" y="4938724"/>
            <a:ext cx="2517059" cy="146638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209" y="4933747"/>
            <a:ext cx="778933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pPr defTabSz="342863"/>
            <a:fld id="{1A202910-896D-4A76-AEC9-526956FB8C05}" type="slidenum">
              <a:rPr lang="en-US" smtClean="0">
                <a:solidFill>
                  <a:srgbClr val="FFFFFF"/>
                </a:solidFill>
              </a:rPr>
              <a:pPr defTabSz="342863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6500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Title_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13760" y="2350805"/>
            <a:ext cx="822960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28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2234" y="2849057"/>
            <a:ext cx="6382765" cy="36428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385" rtl="0" eaLnBrk="1" latinLnBrk="0" hangingPunct="1">
              <a:spcBef>
                <a:spcPct val="0"/>
              </a:spcBef>
              <a:buNone/>
              <a:defRPr lang="en-US" sz="20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6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9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23" b="25295"/>
          <a:stretch/>
        </p:blipFill>
        <p:spPr bwMode="auto">
          <a:xfrm>
            <a:off x="8191503" y="4953002"/>
            <a:ext cx="879871" cy="1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7737" y="4938666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1096925" y="4890490"/>
            <a:ext cx="1091855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" y="4881728"/>
            <a:ext cx="944523" cy="24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144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-Mobile Highly Restri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99697" y="1334814"/>
            <a:ext cx="7830206" cy="1313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40C39-5108-E841-85F7-F0B9C0D30E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biLevel thresh="50000"/>
          </a:blip>
          <a:stretch>
            <a:fillRect/>
          </a:stretch>
        </p:blipFill>
        <p:spPr>
          <a:xfrm>
            <a:off x="457200" y="402935"/>
            <a:ext cx="7584081" cy="374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6637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96588" y="4872359"/>
            <a:ext cx="2895600" cy="1458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T-Mobile Proprietary and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4" y="4623904"/>
            <a:ext cx="465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rgbClr val="E20074"/>
                </a:solidFill>
              </a:defRPr>
            </a:lvl1pPr>
          </a:lstStyle>
          <a:p>
            <a:pPr defTabSz="342863"/>
            <a:fld id="{9C38755D-335C-AE4A-A85B-1A64B1E871A6}" type="slidenum">
              <a:rPr lang="en-US" smtClean="0"/>
              <a:pPr defTabSz="3428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1178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2570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90364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98018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8180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86664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98681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13760" y="2396155"/>
            <a:ext cx="822960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8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2230" y="3002361"/>
            <a:ext cx="6382765" cy="36428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7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69976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1990735"/>
            <a:ext cx="9144000" cy="5322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733551"/>
            <a:ext cx="7670800" cy="760268"/>
          </a:xfrm>
        </p:spPr>
        <p:txBody>
          <a:bodyPr>
            <a:normAutofit/>
          </a:bodyPr>
          <a:lstStyle>
            <a:lvl1pPr algn="r">
              <a:defRPr sz="2700" b="0" i="0">
                <a:solidFill>
                  <a:schemeClr val="bg1"/>
                </a:solidFill>
                <a:latin typeface="Tele-GroteskUltra"/>
                <a:cs typeface="Tele-GroteskUltra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603500"/>
            <a:ext cx="6985000" cy="577850"/>
          </a:xfrm>
        </p:spPr>
        <p:txBody>
          <a:bodyPr>
            <a:normAutofit/>
          </a:bodyPr>
          <a:lstStyle>
            <a:lvl1pPr marL="0" indent="0" algn="r">
              <a:buNone/>
              <a:defRPr sz="1800" b="0" i="0">
                <a:solidFill>
                  <a:schemeClr val="tx1">
                    <a:tint val="75000"/>
                  </a:schemeClr>
                </a:solidFill>
                <a:latin typeface="Tele-GroteskFet" pitchFamily="2" charset="0"/>
                <a:cs typeface="Tele-GroteskFet" pitchFamily="2" charset="0"/>
              </a:defRPr>
            </a:lvl1pPr>
            <a:lvl2pPr marL="342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uthor Nam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944933" y="4933753"/>
            <a:ext cx="1153067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defTabSz="685800"/>
            <a:endParaRPr lang="en-US">
              <a:solidFill>
                <a:srgbClr val="E8E8E8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27581" y="4938713"/>
            <a:ext cx="4025842" cy="113082"/>
          </a:xfrm>
        </p:spPr>
        <p:txBody>
          <a:bodyPr/>
          <a:lstStyle>
            <a:lvl1pPr>
              <a:defRPr sz="825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E8E8E8">
                    <a:lumMod val="50000"/>
                  </a:srgbClr>
                </a:solidFill>
              </a:rPr>
              <a:t>T-Mobile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7" y="4933743"/>
            <a:ext cx="778933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2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1A202910-896D-4A76-AEC9-526956FB8C05}" type="slidenum">
              <a:rPr lang="en-US" smtClean="0">
                <a:solidFill>
                  <a:srgbClr val="E8E8E8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E8E8E8">
                  <a:lumMod val="50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6147" y="83128"/>
            <a:ext cx="1340594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3234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18400"/>
            <a:ext cx="7948571" cy="461665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100"/>
            </a:lvl1pPr>
            <a:lvl2pPr>
              <a:defRPr sz="2100"/>
            </a:lvl2pPr>
            <a:lvl3pPr>
              <a:defRPr sz="21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DIGITAL COMMERCE PLATFORM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3511" y="4616783"/>
            <a:ext cx="774305" cy="271874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201435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13760" y="2396155"/>
            <a:ext cx="822960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800">
                <a:solidFill>
                  <a:schemeClr val="bg1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2230" y="3002361"/>
            <a:ext cx="6382765" cy="36428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7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70839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51645"/>
            <a:ext cx="8229600" cy="461665"/>
          </a:xfrm>
        </p:spPr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036344"/>
            <a:ext cx="2895600" cy="1111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63"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4520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8755D-335C-AE4A-A85B-1A64B1E871A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71489" y="914400"/>
            <a:ext cx="3948112" cy="3486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4738689" y="914400"/>
            <a:ext cx="3948112" cy="34861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22201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8755D-335C-AE4A-A85B-1A64B1E871A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471489" y="1028700"/>
            <a:ext cx="3948112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4738689" y="1028700"/>
            <a:ext cx="3948112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71489" y="2800350"/>
            <a:ext cx="3948112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5"/>
          </p:nvPr>
        </p:nvSpPr>
        <p:spPr>
          <a:xfrm>
            <a:off x="4738689" y="2800350"/>
            <a:ext cx="3948112" cy="1485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8246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8755D-335C-AE4A-A85B-1A64B1E871A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0538" y="1314450"/>
            <a:ext cx="3886200" cy="3200400"/>
          </a:xfrm>
          <a:ln>
            <a:solidFill>
              <a:schemeClr val="tx2"/>
            </a:solidFill>
          </a:ln>
        </p:spPr>
        <p:txBody>
          <a:bodyPr vert="horz" lIns="91440" tIns="45720" rIns="91440" bIns="45720" rtlCol="0">
            <a:noAutofit/>
          </a:bodyPr>
          <a:lstStyle>
            <a:lvl1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1pPr>
            <a:lvl2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2pPr>
            <a:lvl3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3pPr>
            <a:lvl4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4pPr>
            <a:lvl5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dirty="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953000" y="1314450"/>
            <a:ext cx="3886200" cy="3200400"/>
          </a:xfrm>
          <a:ln>
            <a:solidFill>
              <a:schemeClr val="tx2"/>
            </a:solidFill>
          </a:ln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490538" y="927152"/>
            <a:ext cx="3886200" cy="305918"/>
          </a:xfrm>
          <a:solidFill>
            <a:srgbClr val="6A6A6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37160" tIns="91440" rIns="137160" bIns="9144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788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5" hasCustomPrompt="1"/>
          </p:nvPr>
        </p:nvSpPr>
        <p:spPr>
          <a:xfrm>
            <a:off x="4953000" y="927152"/>
            <a:ext cx="3886200" cy="305918"/>
          </a:xfrm>
          <a:solidFill>
            <a:srgbClr val="6A6A6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37160" tIns="91440" rIns="137160" bIns="9144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788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5168385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C38755D-335C-AE4A-A85B-1A64B1E871A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124200" y="2552303"/>
            <a:ext cx="4419600" cy="795539"/>
          </a:xfrm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1pPr>
            <a:lvl2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2pPr>
            <a:lvl3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3pPr>
            <a:lvl4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4pPr>
            <a:lvl5pPr algn="l" defTabSz="257175" rtl="0" eaLnBrk="1" latinLnBrk="0" hangingPunct="1">
              <a:spcBef>
                <a:spcPct val="20000"/>
              </a:spcBef>
              <a:buSzPct val="120000"/>
              <a:defRPr lang="en-US" sz="788" b="0" i="0" kern="1200" dirty="0" smtClean="0">
                <a:solidFill>
                  <a:srgbClr val="6A6A6A"/>
                </a:solidFill>
                <a:latin typeface="Arial"/>
                <a:ea typeface="+mn-ea"/>
                <a:cs typeface="Arial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3124200" y="2165005"/>
            <a:ext cx="4419600" cy="305918"/>
          </a:xfrm>
          <a:solidFill>
            <a:srgbClr val="6A6A6A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vert="horz" wrap="square" lIns="137160" tIns="91440" rIns="137160" bIns="91440" numCol="1" anchor="b" anchorCtr="0" compatLnSpc="1">
            <a:prstTxWarp prst="textNoShape">
              <a:avLst/>
            </a:prstTxWarp>
            <a:spAutoFit/>
          </a:bodyPr>
          <a:lstStyle>
            <a:lvl1pPr>
              <a:defRPr kumimoji="0" lang="en-US" sz="788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upporting materials</a:t>
            </a:r>
          </a:p>
        </p:txBody>
      </p:sp>
    </p:spTree>
    <p:extLst>
      <p:ext uri="{BB962C8B-B14F-4D97-AF65-F5344CB8AC3E}">
        <p14:creationId xmlns:p14="http://schemas.microsoft.com/office/powerpoint/2010/main" val="32253390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514350"/>
            <a:ext cx="9144000" cy="46291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13" dirty="0">
              <a:solidFill>
                <a:srgbClr val="FFFFFF"/>
              </a:solidFill>
            </a:endParaRPr>
          </a:p>
        </p:txBody>
      </p:sp>
      <p:pic>
        <p:nvPicPr>
          <p:cNvPr id="14" name="Picture 13" descr="11596-15266-TMOLogo_MG.eps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53" t="21723" r="10237" b="21378"/>
          <a:stretch/>
        </p:blipFill>
        <p:spPr>
          <a:xfrm>
            <a:off x="6786495" y="4527578"/>
            <a:ext cx="1949705" cy="483567"/>
          </a:xfrm>
          <a:prstGeom prst="rect">
            <a:avLst/>
          </a:prstGeom>
        </p:spPr>
      </p:pic>
      <p:sp>
        <p:nvSpPr>
          <p:cNvPr id="9" name="Round Same Side Corner Rectangle 8"/>
          <p:cNvSpPr/>
          <p:nvPr/>
        </p:nvSpPr>
        <p:spPr>
          <a:xfrm>
            <a:off x="0" y="4158348"/>
            <a:ext cx="9144000" cy="102394"/>
          </a:xfrm>
          <a:prstGeom prst="round2Same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13" dirty="0">
              <a:solidFill>
                <a:srgbClr val="FFFFFF"/>
              </a:solidFill>
            </a:endParaRP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85800" y="4429805"/>
            <a:ext cx="5334000" cy="230833"/>
          </a:xfrm>
        </p:spPr>
        <p:txBody>
          <a:bodyPr anchor="b"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Author, CS&amp;A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82169" y="2167128"/>
            <a:ext cx="7409105" cy="1234440"/>
          </a:xfrm>
        </p:spPr>
        <p:txBody>
          <a:bodyPr>
            <a:normAutofit/>
          </a:bodyPr>
          <a:lstStyle>
            <a:lvl1pPr marL="0" indent="0">
              <a:buNone/>
              <a:defRPr sz="1575" b="0" i="0">
                <a:solidFill>
                  <a:srgbClr val="6A6A6A"/>
                </a:solidFill>
                <a:latin typeface="TM AG Book Rounded Regular"/>
                <a:cs typeface="TM AG Book Rounded Regular"/>
              </a:defRPr>
            </a:lvl1pPr>
          </a:lstStyle>
          <a:p>
            <a:pPr lvl="0"/>
            <a:r>
              <a:rPr lang="en-US" dirty="0"/>
              <a:t>The Title Goes Her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1" y="4740459"/>
            <a:ext cx="3503522" cy="1597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14204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514259"/>
            <a:endParaRPr lang="en-US" sz="135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514259"/>
            <a:fld id="{62CC3208-ADB5-468A-B027-4886AF91626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514259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32995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1">
    <p:bg>
      <p:bgPr>
        <a:blipFill dpi="0"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2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3818819" y="897989"/>
            <a:ext cx="485304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r">
              <a:defRPr sz="40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COVER SLID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4133" y="1385825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Tele-GroteskFet" pitchFamily="2" charset="0"/>
                <a:cs typeface="Tele-GroteskFet" pitchFamily="2" charset="0"/>
              </a:defRPr>
            </a:lvl1pPr>
            <a:lvl2pPr marL="343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5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69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3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</p:spTree>
    <p:extLst>
      <p:ext uri="{BB962C8B-B14F-4D97-AF65-F5344CB8AC3E}">
        <p14:creationId xmlns:p14="http://schemas.microsoft.com/office/powerpoint/2010/main" val="24185542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3124200" y="4955779"/>
            <a:ext cx="2895600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ctr" defTabSz="342871" rtl="0" eaLnBrk="1" latinLnBrk="0" hangingPunct="1">
              <a:defRPr sz="900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675">
                <a:solidFill>
                  <a:srgbClr val="FFFFFF"/>
                </a:solidFill>
              </a:rPr>
              <a:t>T-Mobile Confidential</a:t>
            </a:r>
            <a:endParaRPr lang="en-US" sz="675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2701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9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5" name="Picture 17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616798" y="147439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>
              <a:latin typeface="Tele-GroteskNor" pitchFamily="2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79218" y="196851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  <p:sp>
        <p:nvSpPr>
          <p:cNvPr id="14" name="Footer Placeholder 3"/>
          <p:cNvSpPr txBox="1">
            <a:spLocks/>
          </p:cNvSpPr>
          <p:nvPr userDrawn="1"/>
        </p:nvSpPr>
        <p:spPr>
          <a:xfrm>
            <a:off x="871141" y="4890488"/>
            <a:ext cx="818891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>
                <a:solidFill>
                  <a:srgbClr val="FFFFFF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>
                <a:solidFill>
                  <a:srgbClr val="FFFFFF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9" y="4872039"/>
            <a:ext cx="773133" cy="27146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768634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74535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9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8" name="Picture 7" descr="T-Mobile Standard RO Whit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  <p:pic>
        <p:nvPicPr>
          <p:cNvPr id="12" name="Picture 17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798" y="147439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679218" y="196851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5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Footer Placeholder 3"/>
          <p:cNvSpPr txBox="1">
            <a:spLocks/>
          </p:cNvSpPr>
          <p:nvPr userDrawn="1"/>
        </p:nvSpPr>
        <p:spPr>
          <a:xfrm>
            <a:off x="871141" y="4890488"/>
            <a:ext cx="818891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 dirty="0">
                <a:solidFill>
                  <a:srgbClr val="FFFFFF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 dirty="0">
                <a:solidFill>
                  <a:srgbClr val="FFFFFF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79" y="4872039"/>
            <a:ext cx="773133" cy="271462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813058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0265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50548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87631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5947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83940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17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8339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8" name="Picture 7" descr="T-Mobile Standard RO White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pic>
        <p:nvPicPr>
          <p:cNvPr id="12" name="Picture 17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8010635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ody Slide_Al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717370" y="877824"/>
            <a:ext cx="6233437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0"/>
            <a:ext cx="2895600" cy="151607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1" name="Picture 17"/>
          <p:cNvPicPr>
            <a:picLocks noChangeAspect="1" noChangeArrowheads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0147661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535686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872038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4938660"/>
            <a:ext cx="2895600" cy="151607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21" name="Picture 20" descr="T-Mobile Standard RO White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  <p:pic>
        <p:nvPicPr>
          <p:cNvPr id="11" name="Picture 17"/>
          <p:cNvPicPr>
            <a:picLocks noChangeAspect="1"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2701"/>
            <a:ext cx="9144000" cy="749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8679218" y="201168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012535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5107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127167" y="146304"/>
            <a:ext cx="4852241" cy="469027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840" y="0"/>
            <a:ext cx="3944287" cy="514350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1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000000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000000"/>
              </a:solidFill>
              <a:latin typeface="Tele-GroteskNor" pitchFamily="2" charset="0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79218" y="201168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3644098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75806053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5492206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5745707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ody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355726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7444207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68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Slide / </a:t>
            </a:r>
            <a:fld id="{1AF40C39-5108-E841-85F7-F0B9C0D30E8D}" type="slidenum">
              <a:rPr lang="en-US" smtClean="0">
                <a:solidFill>
                  <a:schemeClr val="tx1"/>
                </a:solidFill>
              </a:rPr>
              <a:pPr/>
              <a:t>‹#›</a:t>
            </a:fld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0710" y="4968468"/>
            <a:ext cx="585216" cy="102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2355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92510"/>
            <a:ext cx="9144000" cy="252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67738" y="4938667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1153676" y="4910962"/>
            <a:ext cx="1063743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loud Strategy </a:t>
            </a:r>
          </a:p>
          <a:p>
            <a:pPr algn="l">
              <a:defRPr/>
            </a:pPr>
            <a:r>
              <a:rPr lang="en-US" sz="600" dirty="0">
                <a:solidFill>
                  <a:srgbClr val="FFFFFF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amp; Development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881" y="4892510"/>
            <a:ext cx="956940" cy="252000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6131263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4872041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44509" y="147443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400" dirty="0">
              <a:latin typeface="Tele-GroteskNor" pitchFamily="2" charset="0"/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67738" y="4938667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17" name="Footer Placeholder 3"/>
          <p:cNvSpPr txBox="1">
            <a:spLocks/>
          </p:cNvSpPr>
          <p:nvPr userDrawn="1"/>
        </p:nvSpPr>
        <p:spPr>
          <a:xfrm>
            <a:off x="1161523" y="4890490"/>
            <a:ext cx="1091855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675" b="1" dirty="0">
                <a:solidFill>
                  <a:srgbClr val="FFFFFF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675" b="1" dirty="0">
                <a:solidFill>
                  <a:srgbClr val="FFFFFF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505" y="4872041"/>
            <a:ext cx="1030844" cy="27146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2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49376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2717374" y="877824"/>
            <a:ext cx="6233437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4896" y="147440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40805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182882" y="877824"/>
            <a:ext cx="535686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4872041"/>
            <a:ext cx="9144000" cy="2714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863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18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392"/>
            <a:ext cx="9144000" cy="558127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9834"/>
            <a:ext cx="8412480" cy="552973"/>
          </a:xfrm>
        </p:spPr>
        <p:txBody>
          <a:bodyPr>
            <a:noAutofit/>
          </a:bodyPr>
          <a:lstStyle>
            <a:lvl1pPr>
              <a:defRPr sz="2000" baseline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614896" y="147440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0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pPr algn="r"/>
              <a:t>‹#›</a:t>
            </a:fld>
            <a:endParaRPr lang="en-US" sz="105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512437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_A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54" y="0"/>
            <a:ext cx="4003380" cy="5143500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127174" y="146313"/>
            <a:ext cx="4852241" cy="4690279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182883" y="146313"/>
            <a:ext cx="3644099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23" b="25295"/>
          <a:stretch/>
        </p:blipFill>
        <p:spPr bwMode="auto">
          <a:xfrm>
            <a:off x="8191503" y="4953003"/>
            <a:ext cx="879871" cy="1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05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8679219" y="196856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73546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dy Slide_Alt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182885" y="877824"/>
            <a:ext cx="5295051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13"/>
            <a:ext cx="8412480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latin typeface="Tele-GroteskNor" pitchFamily="2" charset="0"/>
              </a:rPr>
              <a:pPr algn="r"/>
              <a:t>‹#›</a:t>
            </a:fld>
            <a:endParaRPr lang="en-US" sz="1050" dirty="0"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9" y="196856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9685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303908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Body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13"/>
            <a:ext cx="8412480" cy="552973"/>
          </a:xfrm>
        </p:spPr>
        <p:txBody>
          <a:bodyPr>
            <a:noAutofit/>
          </a:bodyPr>
          <a:lstStyle>
            <a:lvl1pPr>
              <a:defRPr sz="28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2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4923" b="25295"/>
          <a:stretch/>
        </p:blipFill>
        <p:spPr bwMode="auto">
          <a:xfrm>
            <a:off x="8191503" y="4953003"/>
            <a:ext cx="879871" cy="1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8616801" y="147442"/>
            <a:ext cx="408940" cy="21311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05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05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8679219" y="196856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265516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0"/>
          </p:nvPr>
        </p:nvSpPr>
        <p:spPr>
          <a:xfrm>
            <a:off x="1944933" y="4933756"/>
            <a:ext cx="1153067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pPr defTabSz="342863"/>
            <a:fld id="{40421585-AB57-43A7-9A47-FC7A0B958991}" type="datetimeFigureOut">
              <a:rPr lang="en-US" smtClean="0">
                <a:solidFill>
                  <a:srgbClr val="FFFFFF"/>
                </a:solidFill>
              </a:rPr>
              <a:pPr defTabSz="342863"/>
              <a:t>12/6/20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13475" y="4938725"/>
            <a:ext cx="2517059" cy="146638"/>
          </a:xfr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57209" y="4933747"/>
            <a:ext cx="778933" cy="151607"/>
          </a:xfrm>
          <a:prstGeom prst="rect">
            <a:avLst/>
          </a:prstGeom>
        </p:spPr>
        <p:txBody>
          <a:bodyPr/>
          <a:lstStyle>
            <a:lvl1pPr>
              <a:defRPr sz="825">
                <a:solidFill>
                  <a:schemeClr val="bg1"/>
                </a:solidFill>
              </a:defRPr>
            </a:lvl1pPr>
          </a:lstStyle>
          <a:p>
            <a:pPr defTabSz="342863"/>
            <a:fld id="{1A202910-896D-4A76-AEC9-526956FB8C05}" type="slidenum">
              <a:rPr lang="en-US" smtClean="0">
                <a:solidFill>
                  <a:srgbClr val="FFFFFF"/>
                </a:solidFill>
              </a:rPr>
              <a:pPr defTabSz="342863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684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96588" y="4872360"/>
            <a:ext cx="2895600" cy="14580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T-Mobile Proprietary and Confidential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86804" y="4623905"/>
            <a:ext cx="46558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rgbClr val="E20074"/>
                </a:solidFill>
              </a:defRPr>
            </a:lvl1pPr>
          </a:lstStyle>
          <a:p>
            <a:pPr defTabSz="342863"/>
            <a:fld id="{9C38755D-335C-AE4A-A85B-1A64B1E871A6}" type="slidenum">
              <a:rPr lang="en-US" smtClean="0"/>
              <a:pPr defTabSz="342863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81395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  <a:effectLst/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effectLst/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effectLst/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3684829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828397" y="1711111"/>
            <a:ext cx="5184973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28397" y="2266022"/>
            <a:ext cx="5184973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751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6349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Body Slide 5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2665340" y="877824"/>
            <a:ext cx="630492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T-Mobile Confidentia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53340" y="4901210"/>
            <a:ext cx="78486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i="0" kern="1200" dirty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t>Slide / </a:t>
            </a:r>
            <a:fld id="{1AF40C39-5108-E841-85F7-F0B9C0D30E8D}" type="slidenum">
              <a:rPr lang="en-US" sz="900" b="0" i="0" kern="1200" smtClean="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rPr>
              <a:pPr algn="l"/>
              <a:t>‹#›</a:t>
            </a:fld>
            <a:endParaRPr lang="en-US" sz="900" b="0" i="0" kern="1200" dirty="0">
              <a:solidFill>
                <a:schemeClr val="bg1"/>
              </a:solidFill>
              <a:latin typeface="Tele-GroteskHal" pitchFamily="2" charset="0"/>
              <a:ea typeface="+mn-ea"/>
              <a:cs typeface="Tele-GroteskHal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98662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Magent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86214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852689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040554" y="2027265"/>
            <a:ext cx="4263983" cy="707886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defRPr sz="4000" b="0" i="0">
                <a:solidFill>
                  <a:schemeClr val="accent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COVER SLID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554" y="2716202"/>
            <a:ext cx="4263983" cy="3693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5253398" y="750276"/>
            <a:ext cx="3051140" cy="492927"/>
            <a:chOff x="5253398" y="750276"/>
            <a:chExt cx="3051140" cy="492927"/>
          </a:xfrm>
        </p:grpSpPr>
        <p:sp>
          <p:nvSpPr>
            <p:cNvPr id="11" name="TextBox 10"/>
            <p:cNvSpPr txBox="1"/>
            <p:nvPr userDrawn="1"/>
          </p:nvSpPr>
          <p:spPr>
            <a:xfrm>
              <a:off x="5746596" y="781538"/>
              <a:ext cx="25579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240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EXPEDITION</a:t>
              </a:r>
              <a:r>
                <a:rPr lang="en-US" sz="2400" baseline="0" dirty="0">
                  <a:solidFill>
                    <a:schemeClr val="bg1"/>
                  </a:solidFill>
                  <a:latin typeface="Tele-GroteskHal" pitchFamily="2" charset="0"/>
                  <a:cs typeface="Arial" pitchFamily="34" charset="0"/>
                </a:rPr>
                <a:t> </a:t>
              </a:r>
              <a:r>
                <a:rPr lang="en-US" sz="2400" dirty="0">
                  <a:solidFill>
                    <a:schemeClr val="accent1"/>
                  </a:solidFill>
                  <a:latin typeface="Tele-GroteskUlt" pitchFamily="2" charset="0"/>
                  <a:cs typeface="Arial" pitchFamily="34" charset="0"/>
                </a:rPr>
                <a:t>THREE</a:t>
              </a: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53398" y="750276"/>
              <a:ext cx="461665" cy="4616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70324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631" y="2071957"/>
            <a:ext cx="4728307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631" y="2626868"/>
            <a:ext cx="4728307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7884" y="4830660"/>
            <a:ext cx="1765716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000" smtClean="0">
                <a:solidFill>
                  <a:schemeClr val="bg1"/>
                </a:solidFill>
                <a:latin typeface="Tele-GroteskUlt" pitchFamily="2" charset="0"/>
              </a:rPr>
              <a:pPr/>
              <a:t>‹#›</a:t>
            </a:fld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| 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216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&amp;A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>
          <a:xfrm>
            <a:off x="0" y="1194098"/>
            <a:ext cx="9144000" cy="2764715"/>
          </a:xfrm>
          <a:prstGeom prst="rect">
            <a:avLst/>
          </a:prstGeom>
        </p:spPr>
        <p:txBody>
          <a:bodyPr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pPr algn="ctr"/>
            <a:r>
              <a:rPr lang="en-US" sz="16600" spc="-300" dirty="0">
                <a:solidFill>
                  <a:srgbClr val="E20074"/>
                </a:solidFill>
              </a:rPr>
              <a:t>Q</a:t>
            </a:r>
            <a:r>
              <a:rPr lang="en-US" sz="8800" spc="300" dirty="0">
                <a:solidFill>
                  <a:schemeClr val="bg1"/>
                </a:solidFill>
                <a:latin typeface="+mn-lt"/>
              </a:rPr>
              <a:t>&amp;</a:t>
            </a:r>
            <a:r>
              <a:rPr lang="en-US" sz="16600" dirty="0">
                <a:solidFill>
                  <a:srgbClr val="E20074"/>
                </a:solidFill>
              </a:rPr>
              <a:t>A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298084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397025683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ody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3938954" y="877824"/>
            <a:ext cx="5022164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38955" y="146304"/>
            <a:ext cx="5022163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pic>
        <p:nvPicPr>
          <p:cNvPr id="9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804350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5655422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/>
          </p:nvPr>
        </p:nvSpPr>
        <p:spPr>
          <a:xfrm>
            <a:off x="182878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82879" y="146304"/>
            <a:ext cx="8778239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27178438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182880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672584" y="877824"/>
            <a:ext cx="429768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787384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42929614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ody 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182879" y="877824"/>
            <a:ext cx="8778240" cy="3886200"/>
          </a:xfrm>
        </p:spPr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8616798" y="147438"/>
            <a:ext cx="408940" cy="21311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AF40C39-5108-E841-85F7-F0B9C0D30E8D}" type="slidenum">
              <a:rPr lang="en-US" sz="1400" smtClean="0">
                <a:solidFill>
                  <a:srgbClr val="E20074"/>
                </a:solidFill>
                <a:latin typeface="Tele-GroteskNor" pitchFamily="2" charset="0"/>
              </a:rPr>
              <a:pPr algn="r"/>
              <a:t>‹#›</a:t>
            </a:fld>
            <a:endParaRPr lang="en-US" sz="1400" dirty="0">
              <a:solidFill>
                <a:srgbClr val="E20074"/>
              </a:solidFill>
              <a:latin typeface="Tele-GroteskNor" pitchFamily="2" charset="0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8679218" y="196850"/>
            <a:ext cx="0" cy="448019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182880" y="146304"/>
            <a:ext cx="8412480" cy="552973"/>
          </a:xfrm>
        </p:spPr>
        <p:txBody>
          <a:bodyPr>
            <a:noAutofit/>
          </a:bodyPr>
          <a:lstStyle>
            <a:lvl1pPr>
              <a:defRPr sz="3200" baseline="0">
                <a:solidFill>
                  <a:srgbClr val="E20074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</p:spTree>
    <p:extLst>
      <p:ext uri="{BB962C8B-B14F-4D97-AF65-F5344CB8AC3E}">
        <p14:creationId xmlns:p14="http://schemas.microsoft.com/office/powerpoint/2010/main" val="12204762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Title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079631" y="2071957"/>
            <a:ext cx="4728307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>
              <a:defRPr sz="4400">
                <a:solidFill>
                  <a:srgbClr val="E20074"/>
                </a:solidFill>
                <a:latin typeface="Tele-GroteskUlt" pitchFamily="2" charset="0"/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79631" y="2626868"/>
            <a:ext cx="4728307" cy="360846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 defTabSz="343403" rtl="0" eaLnBrk="1" latinLnBrk="0" hangingPunct="1">
              <a:spcBef>
                <a:spcPct val="0"/>
              </a:spcBef>
              <a:buNone/>
              <a:defRPr lang="en-US" sz="3200" b="0" i="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INGLE SUPPORT LINE</a:t>
            </a:r>
          </a:p>
        </p:txBody>
      </p:sp>
      <p:pic>
        <p:nvPicPr>
          <p:cNvPr id="8" name="Picture 4" descr="C:\Users\Kkent\Desktop\Design\Marketing Designs 2014\Logos\Magenta on White T-Mobile\30686-44938-TMO_Magenta.png"/>
          <p:cNvPicPr>
            <a:picLocks noChangeAspect="1" noChangeArrowheads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" b="8225"/>
          <a:stretch/>
        </p:blipFill>
        <p:spPr bwMode="auto">
          <a:xfrm>
            <a:off x="8422401" y="4889816"/>
            <a:ext cx="707879" cy="23266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87884" y="4830660"/>
            <a:ext cx="1765716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000" smtClean="0">
                <a:solidFill>
                  <a:schemeClr val="bg1"/>
                </a:solidFill>
                <a:latin typeface="Tele-GroteskUlt" pitchFamily="2" charset="0"/>
              </a:rPr>
              <a:pPr/>
              <a:t>‹#›</a:t>
            </a:fld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| 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905202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642931"/>
            <a:ext cx="2136722" cy="404978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71545" y="2132178"/>
            <a:ext cx="450532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92240" y="2564823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sp>
        <p:nvSpPr>
          <p:cNvPr id="6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960" y="1732067"/>
            <a:ext cx="1453896" cy="23886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92240" y="2929109"/>
            <a:ext cx="14911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NZ" sz="2000" b="0" kern="1200" cap="small" dirty="0">
                <a:solidFill>
                  <a:srgbClr val="E20074"/>
                </a:solidFill>
                <a:effectLst/>
                <a:latin typeface="Tele-GroteskUlt" pitchFamily="2" charset="0"/>
                <a:ea typeface="+mn-ea"/>
                <a:cs typeface="+mn-cs"/>
              </a:rPr>
              <a:t>Enterprise </a:t>
            </a:r>
            <a:r>
              <a:rPr lang="en-NZ" sz="2000" b="0" kern="1200" cap="small" dirty="0">
                <a:solidFill>
                  <a:schemeClr val="bg1"/>
                </a:solidFill>
                <a:effectLst/>
                <a:latin typeface="Tele-GroteskUlt" pitchFamily="2" charset="0"/>
                <a:ea typeface="+mn-ea"/>
                <a:cs typeface="+mn-cs"/>
              </a:rPr>
              <a:t>IT</a:t>
            </a:r>
            <a:endParaRPr lang="en-US" sz="2000" b="0" kern="1200" dirty="0">
              <a:solidFill>
                <a:schemeClr val="bg1"/>
              </a:solidFill>
              <a:effectLst/>
              <a:latin typeface="Tele-GroteskUlt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4814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361" y="1619229"/>
            <a:ext cx="1681361" cy="61009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71545" y="2132178"/>
            <a:ext cx="450532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0" i="0">
                <a:solidFill>
                  <a:srgbClr val="E20074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240" y="2564823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i="0">
                <a:solidFill>
                  <a:srgbClr val="E20074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8778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1642931"/>
            <a:ext cx="2136722" cy="404978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71545" y="2132178"/>
            <a:ext cx="4505325" cy="477615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0" i="0">
                <a:solidFill>
                  <a:schemeClr val="bg1"/>
                </a:solidFill>
                <a:latin typeface="Tele-GroteskUlt" pitchFamily="2" charset="0"/>
                <a:cs typeface="Tele-GroteskUlt" pitchFamily="2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92240" y="2564823"/>
            <a:ext cx="2617730" cy="3642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 b="0" i="0">
                <a:solidFill>
                  <a:schemeClr val="bg1"/>
                </a:solidFill>
                <a:latin typeface="Tele-GroteskFet" pitchFamily="2" charset="0"/>
                <a:cs typeface="Tele-GroteskFet" pitchFamily="2" charset="0"/>
              </a:defRPr>
            </a:lvl1pPr>
            <a:lvl2pPr marL="343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6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30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36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7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60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38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peaker Name &amp; Date</a:t>
            </a:r>
          </a:p>
        </p:txBody>
      </p:sp>
      <p:sp>
        <p:nvSpPr>
          <p:cNvPr id="6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960" y="1732067"/>
            <a:ext cx="1453896" cy="23886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86913" y="2929109"/>
            <a:ext cx="149111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NZ" sz="2000" b="0" kern="1200" cap="small" dirty="0">
                <a:solidFill>
                  <a:srgbClr val="E20074"/>
                </a:solidFill>
                <a:effectLst/>
                <a:latin typeface="Tele-GroteskUlt" pitchFamily="2" charset="0"/>
                <a:ea typeface="+mn-ea"/>
                <a:cs typeface="+mn-cs"/>
              </a:rPr>
              <a:t>Enterprise </a:t>
            </a:r>
            <a:r>
              <a:rPr lang="en-NZ" sz="2000" b="0" kern="1200" cap="small" dirty="0">
                <a:solidFill>
                  <a:schemeClr val="bg1"/>
                </a:solidFill>
                <a:effectLst/>
                <a:latin typeface="Tele-GroteskUlt" pitchFamily="2" charset="0"/>
                <a:ea typeface="+mn-ea"/>
                <a:cs typeface="+mn-cs"/>
              </a:rPr>
              <a:t>IT</a:t>
            </a:r>
            <a:endParaRPr lang="en-US" sz="2000" b="0" kern="1200" dirty="0">
              <a:solidFill>
                <a:schemeClr val="bg1"/>
              </a:solidFill>
              <a:effectLst/>
              <a:latin typeface="Tele-GroteskUlt" pitchFamily="2" charset="0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34" y="4968746"/>
            <a:ext cx="578069" cy="9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230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11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Relationship Id="rId9" Type="http://schemas.openxmlformats.org/officeDocument/2006/relationships/image" Target="../media/image5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9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99.xml"/><Relationship Id="rId7" Type="http://schemas.openxmlformats.org/officeDocument/2006/relationships/theme" Target="../theme/theme1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100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heme" Target="../theme/theme14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5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.xml"/><Relationship Id="rId13" Type="http://schemas.openxmlformats.org/officeDocument/2006/relationships/image" Target="../media/image49.png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25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image" Target="../media/image19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8.png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0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image" Target="../media/image28.emf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57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image" Target="../media/image20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5" Type="http://schemas.openxmlformats.org/officeDocument/2006/relationships/slideLayout" Target="../slideLayouts/slideLayout70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9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image" Target="../media/image19.png"/><Relationship Id="rId2" Type="http://schemas.openxmlformats.org/officeDocument/2006/relationships/slideLayout" Target="../slideLayouts/slideLayout75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91" y="100209"/>
            <a:ext cx="1033396" cy="217824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257175" y="14933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Cover</a:t>
            </a:r>
            <a:r>
              <a:rPr lang="en-US" baseline="0" dirty="0"/>
              <a:t> Page</a:t>
            </a:r>
            <a:endParaRPr lang="en-US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3364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4017" r:id="rId2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5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91" y="100209"/>
            <a:ext cx="1033396" cy="217824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257175" y="14933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Cover</a:t>
            </a:r>
            <a:r>
              <a:rPr lang="en-US" baseline="0" dirty="0"/>
              <a:t> Page</a:t>
            </a:r>
            <a:endParaRPr lang="en-US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4986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u="none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5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79" y="150252"/>
            <a:ext cx="882507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" y="876075"/>
            <a:ext cx="8825078" cy="3883704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pic>
        <p:nvPicPr>
          <p:cNvPr id="7" name="Picture 6" descr="T-Mobile Standard RO White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893" y="4972973"/>
            <a:ext cx="585216" cy="95098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99884" y="4953060"/>
            <a:ext cx="1765716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000" smtClean="0">
                <a:solidFill>
                  <a:schemeClr val="bg1"/>
                </a:solidFill>
                <a:latin typeface="Tele-GroteskUlt" pitchFamily="2" charset="0"/>
              </a:rPr>
              <a:pPr/>
              <a:t>‹#›</a:t>
            </a:fld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| 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7749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91" y="100209"/>
            <a:ext cx="1033396" cy="217824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 userDrawn="1"/>
        </p:nvSpPr>
        <p:spPr>
          <a:xfrm>
            <a:off x="361950" y="13536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Section Title Slides  </a:t>
            </a:r>
          </a:p>
        </p:txBody>
      </p:sp>
      <p:sp>
        <p:nvSpPr>
          <p:cNvPr id="6" name="Subtitle 2"/>
          <p:cNvSpPr txBox="1">
            <a:spLocks/>
          </p:cNvSpPr>
          <p:nvPr userDrawn="1"/>
        </p:nvSpPr>
        <p:spPr>
          <a:xfrm>
            <a:off x="361950" y="1985460"/>
            <a:ext cx="6908800" cy="1513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Tele-GroteskFet" pitchFamily="2" charset="0"/>
                <a:ea typeface="+mn-ea"/>
                <a:cs typeface="Tele-GroteskFet" pitchFamily="2" charset="0"/>
              </a:defRPr>
            </a:lvl1pPr>
            <a:lvl2pPr marL="34340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686806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1030209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1373612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1717015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60418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3820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722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</a:t>
            </a:r>
            <a:r>
              <a:rPr lang="en-US" baseline="0" dirty="0"/>
              <a:t> provided layouts should be used for sub-sections or individual chapters within a presentation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218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Arial"/>
        <a:buChar char="–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Arial"/>
        <a:buChar char="»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91" y="100209"/>
            <a:ext cx="1033396" cy="217824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 userDrawn="1"/>
        </p:nvSpPr>
        <p:spPr>
          <a:xfrm>
            <a:off x="257175" y="14933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Cover</a:t>
            </a:r>
            <a:r>
              <a:rPr lang="en-US" baseline="0" dirty="0"/>
              <a:t> Page</a:t>
            </a:r>
            <a:endParaRPr lang="en-US" dirty="0"/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2747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8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5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Arial" pitchFamily="34" charset="0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109728"/>
            <a:ext cx="841248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98538"/>
            <a:ext cx="8229600" cy="33944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10" name="Picture 9" descr="T-Mobile Standard RO White.png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479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67735" y="4938661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900" smtClean="0"/>
              <a:pPr/>
              <a:t>‹#›</a:t>
            </a:fld>
            <a:endParaRPr lang="en-US" sz="9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146305"/>
            <a:ext cx="841248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" y="877824"/>
            <a:ext cx="8769096" cy="3886200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1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pPr defTabSz="342863"/>
            <a:r>
              <a:rPr lang="en-US">
                <a:solidFill>
                  <a:srgbClr val="FFFFFF"/>
                </a:solidFill>
              </a:rPr>
              <a:t>T-Mobile Confidential</a:t>
            </a:r>
          </a:p>
        </p:txBody>
      </p:sp>
      <p:pic>
        <p:nvPicPr>
          <p:cNvPr id="7" name="Picture 6" descr="T-Mobile Standard RO White.png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10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414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5" r:id="rId10"/>
    <p:sldLayoutId id="2147483836" r:id="rId11"/>
  </p:sldLayoutIdLst>
  <p:hf sldNum="0" hdr="0" ftr="0" dt="0"/>
  <p:txStyles>
    <p:titleStyle>
      <a:lvl1pPr algn="l" defTabSz="343394" rtl="0" eaLnBrk="1" latinLnBrk="0" hangingPunct="1">
        <a:spcBef>
          <a:spcPct val="0"/>
        </a:spcBef>
        <a:buNone/>
        <a:defRPr sz="3200" b="0" i="0" kern="1200">
          <a:solidFill>
            <a:srgbClr val="E20074"/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46" indent="-257546" algn="l" defTabSz="343394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16" indent="-214622" algn="l" defTabSz="343394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485" indent="-171697" algn="l" defTabSz="343394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880" indent="-171697" algn="l" defTabSz="343394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275" indent="-171697" algn="l" defTabSz="343394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669" indent="-171697" algn="l" defTabSz="34339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063" indent="-171697" algn="l" defTabSz="34339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457" indent="-171697" algn="l" defTabSz="34339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852" indent="-171697" algn="l" defTabSz="343394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394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789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184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578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972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366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760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154" algn="l" defTabSz="34339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79" y="150252"/>
            <a:ext cx="882507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" y="876075"/>
            <a:ext cx="8825078" cy="3883704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pic>
        <p:nvPicPr>
          <p:cNvPr id="7" name="Picture 6" descr="T-Mobile Standard RO White.png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893" y="4972973"/>
            <a:ext cx="585216" cy="95098"/>
          </a:xfrm>
          <a:prstGeom prst="rect">
            <a:avLst/>
          </a:prstGeom>
        </p:spPr>
      </p:pic>
      <p:sp>
        <p:nvSpPr>
          <p:cNvPr id="6" name="Slide Number Placeholder 5"/>
          <p:cNvSpPr txBox="1">
            <a:spLocks/>
          </p:cNvSpPr>
          <p:nvPr userDrawn="1"/>
        </p:nvSpPr>
        <p:spPr>
          <a:xfrm>
            <a:off x="199884" y="4953060"/>
            <a:ext cx="1765716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1000" smtClean="0">
                <a:solidFill>
                  <a:schemeClr val="bg1"/>
                </a:solidFill>
                <a:latin typeface="Tele-GroteskUlt" pitchFamily="2" charset="0"/>
              </a:rPr>
              <a:pPr/>
              <a:t>‹#›</a:t>
            </a:fld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en-US" sz="1000" dirty="0">
                <a:solidFill>
                  <a:schemeClr val="bg1"/>
                </a:solidFill>
                <a:latin typeface="+mn-lt"/>
              </a:rPr>
              <a:t>| 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506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734" y="4938660"/>
            <a:ext cx="778933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l">
              <a:defRPr sz="900">
                <a:solidFill>
                  <a:srgbClr val="FFFFFF"/>
                </a:solidFill>
                <a:latin typeface="Tele-GroteskHal" pitchFamily="2" charset="0"/>
              </a:defRPr>
            </a:lvl1pPr>
          </a:lstStyle>
          <a:p>
            <a:fld id="{1AF40C39-5108-E841-85F7-F0B9C0D30E8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 descr="T-Mobile Standard RO White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893" y="4972973"/>
            <a:ext cx="585216" cy="95098"/>
          </a:xfrm>
          <a:prstGeom prst="rect">
            <a:avLst/>
          </a:prstGeom>
        </p:spPr>
      </p:pic>
      <p:sp>
        <p:nvSpPr>
          <p:cNvPr id="13" name="Title 1"/>
          <p:cNvSpPr txBox="1">
            <a:spLocks/>
          </p:cNvSpPr>
          <p:nvPr userDrawn="1"/>
        </p:nvSpPr>
        <p:spPr>
          <a:xfrm>
            <a:off x="257175" y="14933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>
                <a:solidFill>
                  <a:srgbClr val="E20074"/>
                </a:solidFill>
              </a:rPr>
              <a:t>Confidential Statements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 dirty="0"/>
              <a:t>T-Mobile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97535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0" indent="0" algn="l" defTabSz="343403" rtl="0" eaLnBrk="1" latinLnBrk="0" hangingPunct="1">
        <a:spcBef>
          <a:spcPct val="20000"/>
        </a:spcBef>
        <a:buFont typeface="Arial"/>
        <a:buNone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Arial"/>
        <a:buChar char="–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Arial"/>
        <a:buChar char="»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60291" y="100209"/>
            <a:ext cx="1033396" cy="217824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 userDrawn="1"/>
        </p:nvSpPr>
        <p:spPr>
          <a:xfrm>
            <a:off x="361950" y="13536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Section Title Slides  </a:t>
            </a:r>
          </a:p>
        </p:txBody>
      </p:sp>
      <p:sp>
        <p:nvSpPr>
          <p:cNvPr id="6" name="Subtitle 2"/>
          <p:cNvSpPr txBox="1">
            <a:spLocks/>
          </p:cNvSpPr>
          <p:nvPr userDrawn="1"/>
        </p:nvSpPr>
        <p:spPr>
          <a:xfrm>
            <a:off x="361950" y="1985460"/>
            <a:ext cx="6908800" cy="151339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/>
                </a:solidFill>
                <a:latin typeface="Tele-GroteskFet" pitchFamily="2" charset="0"/>
                <a:ea typeface="+mn-ea"/>
                <a:cs typeface="Tele-GroteskFet" pitchFamily="2" charset="0"/>
              </a:defRPr>
            </a:lvl1pPr>
            <a:lvl2pPr marL="34340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2pPr>
            <a:lvl3pPr marL="686806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3pPr>
            <a:lvl4pPr marL="1030209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4pPr>
            <a:lvl5pPr marL="1373612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1717015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060418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403820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747223" indent="0" algn="ctr" defTabSz="343403" rtl="0" eaLnBrk="1" latinLnBrk="0" hangingPunct="1"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e</a:t>
            </a:r>
            <a:r>
              <a:rPr lang="en-US" baseline="0" dirty="0"/>
              <a:t> provided layouts should be used for sub-sections or individual chapters within a presentation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8350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709" r:id="rId2"/>
    <p:sldLayoutId id="2147483888" r:id="rId3"/>
    <p:sldLayoutId id="2147483889" r:id="rId4"/>
    <p:sldLayoutId id="2147483890" r:id="rId5"/>
    <p:sldLayoutId id="2147483891" r:id="rId6"/>
    <p:sldLayoutId id="2147483892" r:id="rId7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Font typeface="Arial"/>
        <a:buChar char="•"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Font typeface="Arial"/>
        <a:buChar char="•"/>
        <a:defRPr sz="15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Font typeface="Arial"/>
        <a:buChar char="–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Font typeface="Arial"/>
        <a:buChar char="»"/>
        <a:defRPr sz="12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79" y="150252"/>
            <a:ext cx="882507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2880" y="876075"/>
            <a:ext cx="8825078" cy="3883704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/>
              <a:t>T-Mobile Confidential</a:t>
            </a:r>
            <a:endParaRPr lang="en-US" dirty="0"/>
          </a:p>
        </p:txBody>
      </p:sp>
      <p:pic>
        <p:nvPicPr>
          <p:cNvPr id="7" name="Picture 6" descr="T-Mobile Standard RO White.png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9893" y="4972973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457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677" r:id="rId3"/>
    <p:sldLayoutId id="2147483690" r:id="rId4"/>
    <p:sldLayoutId id="2147483714" r:id="rId5"/>
    <p:sldLayoutId id="2147483717" r:id="rId6"/>
    <p:sldLayoutId id="2147483715" r:id="rId7"/>
    <p:sldLayoutId id="2147483716" r:id="rId8"/>
    <p:sldLayoutId id="2147483676" r:id="rId9"/>
    <p:sldLayoutId id="2147483886" r:id="rId10"/>
    <p:sldLayoutId id="2147483887" r:id="rId11"/>
    <p:sldLayoutId id="2147483893" r:id="rId12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57175" y="1493342"/>
            <a:ext cx="8099426" cy="96678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4000" b="0" i="0" kern="120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Closing</a:t>
            </a:r>
            <a:r>
              <a:rPr lang="en-US" baseline="0" dirty="0"/>
              <a:t> Sli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5454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883" r:id="rId3"/>
    <p:sldLayoutId id="2147483884" r:id="rId4"/>
    <p:sldLayoutId id="2147483885" r:id="rId5"/>
    <p:sldLayoutId id="2147483921" r:id="rId6"/>
    <p:sldLayoutId id="2147484019" r:id="rId7"/>
  </p:sldLayoutIdLst>
  <p:hf sldNum="0" hdr="0" dt="0"/>
  <p:txStyles>
    <p:titleStyle>
      <a:lvl1pPr algn="ctr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75000"/>
              <a:lumOff val="2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109731"/>
            <a:ext cx="841248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98538"/>
            <a:ext cx="8229600" cy="33944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6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pPr defTabSz="342863"/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7737" y="4938666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096925" y="4890490"/>
            <a:ext cx="1091855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" y="4881728"/>
            <a:ext cx="944523" cy="24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23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880" r:id="rId11"/>
    <p:sldLayoutId id="2147483881" r:id="rId12"/>
    <p:sldLayoutId id="2147483882" r:id="rId13"/>
    <p:sldLayoutId id="2147483918" r:id="rId14"/>
    <p:sldLayoutId id="2147483919" r:id="rId15"/>
    <p:sldLayoutId id="2147483920" r:id="rId16"/>
    <p:sldLayoutId id="2147484018" r:id="rId17"/>
  </p:sldLayoutIdLst>
  <p:hf sldNum="0" hdr="0" dt="0"/>
  <p:txStyles>
    <p:titleStyle>
      <a:lvl1pPr algn="l" defTabSz="343385" rtl="0" eaLnBrk="1" latinLnBrk="0" hangingPunct="1">
        <a:spcBef>
          <a:spcPct val="0"/>
        </a:spcBef>
        <a:buNone/>
        <a:defRPr sz="28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40" indent="-257540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03" indent="-214616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464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851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1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236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622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008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394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779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38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772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158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544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929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31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700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08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045"/>
            <a:ext cx="9144000" cy="53606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9" y="1194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5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4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685800"/>
            <a:ext cx="8229600" cy="3597923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ound Same Side Corner Rectangle 9"/>
          <p:cNvSpPr/>
          <p:nvPr/>
        </p:nvSpPr>
        <p:spPr>
          <a:xfrm>
            <a:off x="0" y="5041109"/>
            <a:ext cx="9144000" cy="102394"/>
          </a:xfrm>
          <a:prstGeom prst="round2Same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013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5036346"/>
            <a:ext cx="2895600" cy="132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63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6858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14331" y="5036344"/>
            <a:ext cx="744939" cy="12545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63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685800"/>
            <a:fld id="{9C38755D-335C-AE4A-A85B-1A64B1E871A6}" type="slidenum">
              <a:rPr lang="en-US" smtClean="0">
                <a:solidFill>
                  <a:srgbClr val="FFFFFF"/>
                </a:solidFill>
              </a:rPr>
              <a:pPr defTabSz="685800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5760" y="29645"/>
            <a:ext cx="7948571" cy="461665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661863" y="99753"/>
            <a:ext cx="468066" cy="39155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38755D-335C-AE4A-A85B-1A64B1E871A6}" type="slidenum">
              <a:rPr lang="en-US" sz="2100" smtClean="0">
                <a:solidFill>
                  <a:srgbClr val="000000"/>
                </a:solidFill>
              </a:rPr>
              <a:pPr/>
              <a:t>‹#›</a:t>
            </a:fld>
            <a:endParaRPr lang="en-US" sz="2100" dirty="0">
              <a:solidFill>
                <a:srgbClr val="000000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661863" y="99754"/>
            <a:ext cx="0" cy="336014"/>
          </a:xfrm>
          <a:prstGeom prst="line">
            <a:avLst/>
          </a:prstGeom>
          <a:ln w="9525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015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922" r:id="rId14"/>
    <p:sldLayoutId id="2147483923" r:id="rId15"/>
    <p:sldLayoutId id="2147483924" r:id="rId16"/>
    <p:sldLayoutId id="2147483925" r:id="rId17"/>
    <p:sldLayoutId id="2147483926" r:id="rId18"/>
  </p:sldLayoutIdLst>
  <p:hf hdr="0" ftr="0"/>
  <p:txStyles>
    <p:titleStyle>
      <a:lvl1pPr algn="l" defTabSz="257175" rtl="0" eaLnBrk="1" latinLnBrk="0" hangingPunct="1">
        <a:spcBef>
          <a:spcPct val="0"/>
        </a:spcBef>
        <a:buNone/>
        <a:defRPr sz="2400" b="0" i="0" kern="1200">
          <a:solidFill>
            <a:schemeClr val="bg1"/>
          </a:solidFill>
          <a:latin typeface="Tele-GroteskFet" pitchFamily="2" charset="0"/>
          <a:ea typeface="+mj-ea"/>
          <a:cs typeface="Tele-GroteskFet" pitchFamily="2" charset="0"/>
        </a:defRPr>
      </a:lvl1pPr>
    </p:titleStyle>
    <p:bodyStyle>
      <a:lvl1pPr marL="131267" indent="-131267" algn="l" defTabSz="257175" rtl="0" eaLnBrk="1" latinLnBrk="0" hangingPunct="1">
        <a:spcBef>
          <a:spcPct val="20000"/>
        </a:spcBef>
        <a:buClr>
          <a:schemeClr val="accent1"/>
        </a:buClr>
        <a:buSzPct val="120000"/>
        <a:buFont typeface="Wingdings" pitchFamily="2" charset="2"/>
        <a:buChar char="§"/>
        <a:defRPr sz="1050" b="0" i="0" kern="1200">
          <a:solidFill>
            <a:srgbClr val="6A6A6A"/>
          </a:solidFill>
          <a:latin typeface="Arial" pitchFamily="34" charset="0"/>
          <a:ea typeface="+mn-ea"/>
          <a:cs typeface="Arial" pitchFamily="34" charset="0"/>
        </a:defRPr>
      </a:lvl1pPr>
      <a:lvl2pPr marL="257175" indent="-125909" algn="l" defTabSz="257175" rtl="0" eaLnBrk="1" latinLnBrk="0" hangingPunct="1">
        <a:spcBef>
          <a:spcPct val="20000"/>
        </a:spcBef>
        <a:buClr>
          <a:schemeClr val="accent1"/>
        </a:buClr>
        <a:buSzPct val="120000"/>
        <a:buFont typeface="Arial"/>
        <a:buChar char="–"/>
        <a:defRPr sz="1050" b="0" i="0" kern="1200">
          <a:solidFill>
            <a:srgbClr val="6A6A6A"/>
          </a:solidFill>
          <a:latin typeface="Arial" pitchFamily="34" charset="0"/>
          <a:ea typeface="+mn-ea"/>
          <a:cs typeface="Arial" pitchFamily="34" charset="0"/>
        </a:defRPr>
      </a:lvl2pPr>
      <a:lvl3pPr marL="388442" indent="-131267" algn="l" defTabSz="257175" rtl="0" eaLnBrk="1" latinLnBrk="0" hangingPunct="1">
        <a:spcBef>
          <a:spcPct val="20000"/>
        </a:spcBef>
        <a:buClr>
          <a:schemeClr val="accent1"/>
        </a:buClr>
        <a:buSzPct val="120000"/>
        <a:buFont typeface="Arial"/>
        <a:buChar char="•"/>
        <a:defRPr sz="1050" b="0" i="0" kern="1200">
          <a:solidFill>
            <a:srgbClr val="6A6A6A"/>
          </a:solidFill>
          <a:latin typeface="Arial" pitchFamily="34" charset="0"/>
          <a:ea typeface="+mn-ea"/>
          <a:cs typeface="Arial" pitchFamily="34" charset="0"/>
        </a:defRPr>
      </a:lvl3pPr>
      <a:lvl4pPr marL="579537" indent="-191096" algn="l" defTabSz="257175" rtl="0" eaLnBrk="1" latinLnBrk="0" hangingPunct="1">
        <a:spcBef>
          <a:spcPct val="20000"/>
        </a:spcBef>
        <a:buClr>
          <a:schemeClr val="accent1"/>
        </a:buClr>
        <a:buSzPct val="120000"/>
        <a:buFont typeface="Arial"/>
        <a:buChar char="–"/>
        <a:defRPr sz="1050" b="0" i="0" kern="1200">
          <a:solidFill>
            <a:srgbClr val="6A6A6A"/>
          </a:solidFill>
          <a:latin typeface="Arial" pitchFamily="34" charset="0"/>
          <a:ea typeface="+mn-ea"/>
          <a:cs typeface="Arial" pitchFamily="34" charset="0"/>
        </a:defRPr>
      </a:lvl4pPr>
      <a:lvl5pPr marL="771525" indent="-191989" algn="l" defTabSz="257175" rtl="0" eaLnBrk="1" latinLnBrk="0" hangingPunct="1">
        <a:spcBef>
          <a:spcPct val="20000"/>
        </a:spcBef>
        <a:buClr>
          <a:schemeClr val="accent1"/>
        </a:buClr>
        <a:buSzPct val="120000"/>
        <a:buFont typeface="Arial"/>
        <a:buChar char="»"/>
        <a:defRPr sz="1050" b="0" i="0" kern="1200">
          <a:solidFill>
            <a:srgbClr val="6A6A6A"/>
          </a:solidFill>
          <a:latin typeface="Arial" pitchFamily="34" charset="0"/>
          <a:ea typeface="+mn-ea"/>
          <a:cs typeface="Arial" pitchFamily="34" charset="0"/>
        </a:defRPr>
      </a:lvl5pPr>
      <a:lvl6pPr marL="141446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257175" rtl="0" eaLnBrk="1" latinLnBrk="0" hangingPunct="1">
        <a:spcBef>
          <a:spcPct val="20000"/>
        </a:spcBef>
        <a:buFont typeface="Arial"/>
        <a:buChar char="•"/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109728"/>
            <a:ext cx="841248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98538"/>
            <a:ext cx="8229600" cy="33944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0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900" b="0" i="0">
                <a:solidFill>
                  <a:schemeClr val="bg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T-Mobile Confidential</a:t>
            </a: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9" descr="T-Mobile Standard RO White.png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2743" y="4964809"/>
            <a:ext cx="585216" cy="95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32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894" r:id="rId8"/>
  </p:sldLayoutIdLst>
  <p:hf sldNum="0" hdr="0" dt="0"/>
  <p:txStyles>
    <p:titleStyle>
      <a:lvl1pPr algn="l" defTabSz="343403" rtl="0" eaLnBrk="1" latinLnBrk="0" hangingPunct="1">
        <a:spcBef>
          <a:spcPct val="0"/>
        </a:spcBef>
        <a:buNone/>
        <a:defRPr sz="32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52" indent="-257552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4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30" indent="-214627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8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507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5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910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313" indent="-171701" algn="l" defTabSz="343403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716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119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522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925" indent="-171701" algn="l" defTabSz="343403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40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806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209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612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7015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418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820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223" algn="l" defTabSz="343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2880" y="109731"/>
            <a:ext cx="8412480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rm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998538"/>
            <a:ext cx="8229600" cy="3394472"/>
          </a:xfrm>
          <a:prstGeom prst="rect">
            <a:avLst/>
          </a:prstGeom>
        </p:spPr>
        <p:txBody>
          <a:bodyPr vert="horz" lIns="68681" tIns="34340" rIns="68681" bIns="3434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938667"/>
            <a:ext cx="2895600" cy="151607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lvl1pPr algn="ctr">
              <a:defRPr sz="675" b="0" i="0">
                <a:solidFill>
                  <a:schemeClr val="tx1"/>
                </a:solidFill>
                <a:latin typeface="Tele-GroteskHal" pitchFamily="2" charset="0"/>
                <a:cs typeface="Tele-GroteskHal" pitchFamily="2" charset="0"/>
              </a:defRPr>
            </a:lvl1pPr>
          </a:lstStyle>
          <a:p>
            <a:pPr defTabSz="342863"/>
            <a:r>
              <a:rPr lang="en-US">
                <a:solidFill>
                  <a:srgbClr val="000000"/>
                </a:solidFill>
              </a:rPr>
              <a:t>T-Mobile Confidential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5864" y="4968746"/>
            <a:ext cx="742096" cy="91440"/>
          </a:xfrm>
          <a:prstGeom prst="rect">
            <a:avLst/>
          </a:prstGeom>
        </p:spPr>
      </p:pic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7738" y="4938667"/>
            <a:ext cx="778933" cy="151607"/>
          </a:xfrm>
          <a:prstGeom prst="rect">
            <a:avLst/>
          </a:prstGeom>
        </p:spPr>
        <p:txBody>
          <a:bodyPr vert="horz" lIns="51511" tIns="25755" rIns="51511" bIns="25755" rtlCol="0" anchor="ctr"/>
          <a:lstStyle>
            <a:defPPr>
              <a:defRPr lang="en-US"/>
            </a:defPPr>
            <a:lvl1pPr marL="0" algn="l" defTabSz="343403" rtl="0" eaLnBrk="1" latinLnBrk="0" hangingPunct="1">
              <a:defRPr sz="900" kern="1200">
                <a:solidFill>
                  <a:srgbClr val="FFFFFF"/>
                </a:solidFill>
                <a:latin typeface="Tele-GroteskHal" pitchFamily="2" charset="0"/>
                <a:ea typeface="+mn-ea"/>
                <a:cs typeface="+mn-cs"/>
              </a:defRPr>
            </a:lvl1pPr>
            <a:lvl2pPr marL="34340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6806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30209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3612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7015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60418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3820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7223" algn="l" defTabSz="34340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AF40C39-5108-E841-85F7-F0B9C0D30E8D}" type="slidenum">
              <a:rPr lang="en-US" sz="675" smtClean="0"/>
              <a:pPr/>
              <a:t>‹#›</a:t>
            </a:fld>
            <a:endParaRPr lang="en-US" sz="675" dirty="0"/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096925" y="4890490"/>
            <a:ext cx="1091855" cy="218123"/>
          </a:xfrm>
          <a:prstGeom prst="rect">
            <a:avLst/>
          </a:prstGeom>
        </p:spPr>
        <p:txBody>
          <a:bodyPr vert="horz" lIns="68681" tIns="34340" rIns="68681" bIns="34340" rtlCol="0" anchor="ctr"/>
          <a:lstStyle>
            <a:defPPr>
              <a:defRPr lang="en-US"/>
            </a:defPPr>
            <a:lvl1pPr marL="0" algn="ctr" defTabSz="342871" rtl="0" eaLnBrk="1" latinLnBrk="0" hangingPunct="1">
              <a:defRPr sz="675" b="0" i="0" kern="1200">
                <a:solidFill>
                  <a:schemeClr val="bg1"/>
                </a:solidFill>
                <a:latin typeface="Tele-GroteskHal" pitchFamily="2" charset="0"/>
                <a:ea typeface="+mn-ea"/>
                <a:cs typeface="Tele-GroteskHal" pitchFamily="2" charset="0"/>
              </a:defRPr>
            </a:lvl1pPr>
            <a:lvl2pPr marL="34287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4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11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48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352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22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094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963" algn="l" defTabSz="342871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Cloud Strategy </a:t>
            </a:r>
          </a:p>
          <a:p>
            <a:pPr algn="l">
              <a:defRPr/>
            </a:pPr>
            <a:r>
              <a:rPr lang="en-US" sz="800" b="1" dirty="0">
                <a:solidFill>
                  <a:srgbClr val="E20074"/>
                </a:solidFill>
                <a:latin typeface="Calibri"/>
                <a:cs typeface="Calibri"/>
              </a:rPr>
              <a:t>&amp; Developmen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79" y="4881728"/>
            <a:ext cx="944523" cy="248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92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1" r:id="rId9"/>
    <p:sldLayoutId id="2147483913" r:id="rId10"/>
    <p:sldLayoutId id="2147483914" r:id="rId11"/>
    <p:sldLayoutId id="2147483915" r:id="rId12"/>
    <p:sldLayoutId id="2147483916" r:id="rId13"/>
    <p:sldLayoutId id="2147483917" r:id="rId14"/>
  </p:sldLayoutIdLst>
  <p:hf sldNum="0" hdr="0" dt="0"/>
  <p:txStyles>
    <p:titleStyle>
      <a:lvl1pPr algn="l" defTabSz="343385" rtl="0" eaLnBrk="1" latinLnBrk="0" hangingPunct="1">
        <a:spcBef>
          <a:spcPct val="0"/>
        </a:spcBef>
        <a:buNone/>
        <a:defRPr sz="2800" b="0" i="0" kern="1200">
          <a:solidFill>
            <a:schemeClr val="tx1">
              <a:lumMod val="75000"/>
              <a:lumOff val="25000"/>
            </a:schemeClr>
          </a:solidFill>
          <a:latin typeface="Tele-GroteskUlt" pitchFamily="2" charset="0"/>
          <a:ea typeface="+mj-ea"/>
          <a:cs typeface="Tele-GroteskUlt" pitchFamily="2" charset="0"/>
        </a:defRPr>
      </a:lvl1pPr>
    </p:titleStyle>
    <p:bodyStyle>
      <a:lvl1pPr marL="257540" indent="-257540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2000" b="0" i="0" kern="1200">
          <a:solidFill>
            <a:schemeClr val="tx1">
              <a:lumMod val="85000"/>
              <a:lumOff val="15000"/>
            </a:schemeClr>
          </a:solidFill>
          <a:latin typeface="+mj-lt"/>
          <a:ea typeface="+mn-ea"/>
          <a:cs typeface="Arial" pitchFamily="34" charset="0"/>
        </a:defRPr>
      </a:lvl1pPr>
      <a:lvl2pPr marL="558003" indent="-214616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2pPr>
      <a:lvl3pPr marL="858464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3pPr>
      <a:lvl4pPr marL="1201851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100" b="0" i="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Arial" pitchFamily="34" charset="0"/>
        </a:defRPr>
      </a:lvl4pPr>
      <a:lvl5pPr marL="1545236" indent="-171693" algn="l" defTabSz="3433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itchFamily="34" charset="0"/>
        </a:defRPr>
      </a:lvl5pPr>
      <a:lvl6pPr marL="1888622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32008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5394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8779" indent="-171693" algn="l" defTabSz="343385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38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6772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0158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3544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6929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031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3700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7085" algn="l" defTabSz="34338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7" Type="http://schemas.openxmlformats.org/officeDocument/2006/relationships/image" Target="../media/image61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60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7" Type="http://schemas.openxmlformats.org/officeDocument/2006/relationships/image" Target="../media/image61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60.png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54677896-195D-452A-B652-15C331329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760" y="1188721"/>
            <a:ext cx="6690544" cy="1760408"/>
          </a:xfrm>
        </p:spPr>
        <p:txBody>
          <a:bodyPr anchor="ctr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4000" b="1" dirty="0">
                <a:latin typeface="Tele-GroteskFet" pitchFamily="2" charset="77"/>
              </a:rPr>
              <a:t>Why Serverless can work </a:t>
            </a:r>
            <a:br>
              <a:rPr lang="en-US" sz="4000" b="1" dirty="0">
                <a:latin typeface="Tele-GroteskFet" pitchFamily="2" charset="77"/>
              </a:rPr>
            </a:br>
            <a:r>
              <a:rPr lang="en-US" sz="4000" b="1" dirty="0">
                <a:latin typeface="Tele-GroteskFet" pitchFamily="2" charset="77"/>
              </a:rPr>
              <a:t>for enterprises?</a:t>
            </a:r>
          </a:p>
        </p:txBody>
      </p:sp>
    </p:spTree>
    <p:extLst>
      <p:ext uri="{BB962C8B-B14F-4D97-AF65-F5344CB8AC3E}">
        <p14:creationId xmlns:p14="http://schemas.microsoft.com/office/powerpoint/2010/main" val="29851575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937328-8127-B64F-B8A6-4A1F65303C3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4048" y="1430796"/>
            <a:ext cx="8138160" cy="3040619"/>
          </a:xfrm>
        </p:spPr>
        <p:txBody>
          <a:bodyPr/>
          <a:lstStyle/>
          <a:p>
            <a:pPr marL="0" lvl="0" indent="0" algn="ctr">
              <a:spcBef>
                <a:spcPts val="0"/>
              </a:spcBef>
              <a:buNone/>
            </a:pPr>
            <a:r>
              <a:rPr lang="en-US" dirty="0">
                <a:latin typeface="+mn-lt"/>
              </a:rPr>
              <a:t>We built </a:t>
            </a:r>
            <a:r>
              <a:rPr lang="en-US" b="1" dirty="0">
                <a:latin typeface="+mn-lt"/>
              </a:rPr>
              <a:t>Jazz</a:t>
            </a:r>
            <a:r>
              <a:rPr lang="en-US" dirty="0">
                <a:latin typeface="+mn-lt"/>
              </a:rPr>
              <a:t>, 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dirty="0">
                <a:latin typeface="+mn-lt"/>
              </a:rPr>
              <a:t>a </a:t>
            </a:r>
            <a:r>
              <a:rPr lang="en-US" b="1" dirty="0">
                <a:latin typeface="+mn-lt"/>
              </a:rPr>
              <a:t>Serverless Development Platform</a:t>
            </a:r>
            <a:r>
              <a:rPr lang="en-US" dirty="0">
                <a:latin typeface="+mn-lt"/>
              </a:rPr>
              <a:t> 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dirty="0">
                <a:latin typeface="+mn-lt"/>
              </a:rPr>
              <a:t>that enables developers to build 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dirty="0">
                <a:latin typeface="+mn-lt"/>
              </a:rPr>
              <a:t>secure, compliant serverless apps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en-US" dirty="0">
                <a:latin typeface="+mn-lt"/>
              </a:rPr>
              <a:t>that are operationally ready from day one!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D31CAE-770E-0249-9FD8-195055AC1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Toolset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4B23611-EF9A-B941-A027-3350094B6A3E}"/>
              </a:ext>
            </a:extLst>
          </p:cNvPr>
          <p:cNvSpPr/>
          <p:nvPr/>
        </p:nvSpPr>
        <p:spPr>
          <a:xfrm>
            <a:off x="3202529" y="3990630"/>
            <a:ext cx="22451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https://</a:t>
            </a:r>
            <a:r>
              <a:rPr lang="en-US" b="1" dirty="0" err="1"/>
              <a:t>github.com</a:t>
            </a:r>
            <a:r>
              <a:rPr lang="en-US" b="1" dirty="0"/>
              <a:t>/</a:t>
            </a:r>
            <a:r>
              <a:rPr lang="en-US" b="1" dirty="0" err="1"/>
              <a:t>tmobile</a:t>
            </a:r>
            <a:r>
              <a:rPr lang="en-US" b="1" dirty="0"/>
              <a:t>/jazz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4B8455-58B0-E34D-A50A-AA11D1196F07}"/>
              </a:ext>
            </a:extLst>
          </p:cNvPr>
          <p:cNvGrpSpPr/>
          <p:nvPr/>
        </p:nvGrpSpPr>
        <p:grpSpPr>
          <a:xfrm>
            <a:off x="621792" y="2026376"/>
            <a:ext cx="679583" cy="828126"/>
            <a:chOff x="736600" y="2053808"/>
            <a:chExt cx="679583" cy="828126"/>
          </a:xfrm>
        </p:grpSpPr>
        <p:pic>
          <p:nvPicPr>
            <p:cNvPr id="2050" name="Picture 2" descr="Jazz Logo">
              <a:extLst>
                <a:ext uri="{FF2B5EF4-FFF2-40B4-BE49-F238E27FC236}">
                  <a16:creationId xmlns:a16="http://schemas.microsoft.com/office/drawing/2014/main" id="{54356211-9592-654D-AD80-D6095D1752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600" y="2053808"/>
              <a:ext cx="679583" cy="4621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953FB4-0DE4-7F4F-AFCE-19C5877FAA2F}"/>
                </a:ext>
              </a:extLst>
            </p:cNvPr>
            <p:cNvSpPr txBox="1"/>
            <p:nvPr/>
          </p:nvSpPr>
          <p:spPr>
            <a:xfrm>
              <a:off x="837184" y="2571750"/>
              <a:ext cx="479552" cy="310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accent1"/>
                  </a:solidFill>
                  <a:latin typeface="+mj-lt"/>
                  <a:cs typeface="Arial" pitchFamily="34" charset="0"/>
                </a:rPr>
                <a:t>Jazz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079621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/>
          </a:bodyPr>
          <a:lstStyle/>
          <a:p>
            <a:r>
              <a:rPr lang="en-US" sz="2200" dirty="0">
                <a:latin typeface="+mn-lt"/>
              </a:rPr>
              <a:t>Accelerate Serverless Adoption</a:t>
            </a:r>
          </a:p>
          <a:p>
            <a:r>
              <a:rPr lang="en-US" sz="2200" dirty="0">
                <a:latin typeface="+mn-lt"/>
              </a:rPr>
              <a:t>Built around two themes – </a:t>
            </a:r>
          </a:p>
          <a:p>
            <a:pPr lvl="1"/>
            <a:r>
              <a:rPr lang="en-US" dirty="0"/>
              <a:t>Ease of use</a:t>
            </a:r>
          </a:p>
          <a:p>
            <a:pPr lvl="1"/>
            <a:r>
              <a:rPr lang="en-US" dirty="0"/>
              <a:t>Build compliant applications in the cloud</a:t>
            </a:r>
          </a:p>
          <a:p>
            <a:pPr lvl="0" indent="-457200">
              <a:spcBef>
                <a:spcPts val="0"/>
              </a:spcBef>
            </a:pPr>
            <a:r>
              <a:rPr lang="en-US" dirty="0">
                <a:latin typeface="+mn-lt"/>
              </a:rPr>
              <a:t>Enterprise processes are 100% automated</a:t>
            </a:r>
          </a:p>
          <a:p>
            <a:pPr lvl="0" indent="-457200">
              <a:spcBef>
                <a:spcPts val="0"/>
              </a:spcBef>
            </a:pPr>
            <a:r>
              <a:rPr lang="en-US" dirty="0">
                <a:latin typeface="+mn-lt"/>
              </a:rPr>
              <a:t>Self-Service enabled to reduce dependencies</a:t>
            </a:r>
          </a:p>
          <a:p>
            <a:pPr lvl="0" indent="-457200">
              <a:spcBef>
                <a:spcPts val="0"/>
              </a:spcBef>
            </a:pPr>
            <a:r>
              <a:rPr lang="en-US" dirty="0">
                <a:latin typeface="+mn-lt"/>
              </a:rPr>
              <a:t>Bridge gaps between actual serverless promise and the reality</a:t>
            </a:r>
          </a:p>
          <a:p>
            <a:pPr lvl="0" indent="-457200">
              <a:spcBef>
                <a:spcPts val="0"/>
              </a:spcBef>
            </a:pPr>
            <a:r>
              <a:rPr lang="en-US" dirty="0">
                <a:latin typeface="+mn-lt"/>
              </a:rPr>
              <a:t>Keep developers &amp; management happy</a:t>
            </a:r>
            <a:endParaRPr lang="en-US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reaking it down</a:t>
            </a:r>
          </a:p>
        </p:txBody>
      </p:sp>
    </p:spTree>
    <p:extLst>
      <p:ext uri="{BB962C8B-B14F-4D97-AF65-F5344CB8AC3E}">
        <p14:creationId xmlns:p14="http://schemas.microsoft.com/office/powerpoint/2010/main" val="18881489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latin typeface="+mn-lt"/>
              </a:rPr>
              <a:t>CI/CD</a:t>
            </a:r>
          </a:p>
          <a:p>
            <a:r>
              <a:rPr lang="en-US" dirty="0">
                <a:latin typeface="+mn-lt"/>
              </a:rPr>
              <a:t>Standards &amp; Security Controls baked in</a:t>
            </a:r>
          </a:p>
          <a:p>
            <a:r>
              <a:rPr lang="en-US" dirty="0">
                <a:latin typeface="+mn-lt"/>
              </a:rPr>
              <a:t>Multi Tenancy</a:t>
            </a:r>
          </a:p>
          <a:p>
            <a:r>
              <a:rPr lang="en-US" dirty="0">
                <a:latin typeface="+mn-lt"/>
              </a:rPr>
              <a:t>1-Click Environments</a:t>
            </a:r>
          </a:p>
          <a:p>
            <a:r>
              <a:rPr lang="en-US" dirty="0">
                <a:latin typeface="+mn-lt"/>
              </a:rPr>
              <a:t>Best practices through code templates (application marketplace)</a:t>
            </a:r>
          </a:p>
          <a:p>
            <a:r>
              <a:rPr lang="en-US" dirty="0">
                <a:latin typeface="+mn-lt"/>
              </a:rPr>
              <a:t>Governance &amp; Compliance</a:t>
            </a:r>
          </a:p>
          <a:p>
            <a:r>
              <a:rPr lang="en-US" dirty="0">
                <a:latin typeface="+mn-lt"/>
              </a:rPr>
              <a:t>Log collection, aggregation &amp; analytics</a:t>
            </a:r>
          </a:p>
          <a:p>
            <a:r>
              <a:rPr lang="en-US" dirty="0">
                <a:latin typeface="+mn-lt"/>
              </a:rPr>
              <a:t>Monitoring – Metrics, Dashboards &amp; Alerts</a:t>
            </a:r>
          </a:p>
          <a:p>
            <a:r>
              <a:rPr lang="en-US" dirty="0">
                <a:latin typeface="+mn-lt"/>
              </a:rPr>
              <a:t>Enterprise Integrations through extensions</a:t>
            </a:r>
          </a:p>
          <a:p>
            <a:r>
              <a:rPr lang="en-US" dirty="0">
                <a:latin typeface="+mn-lt"/>
              </a:rPr>
              <a:t>Abstract Complexity with Cloud Provider solution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atures</a:t>
            </a:r>
          </a:p>
        </p:txBody>
      </p:sp>
    </p:spTree>
    <p:extLst>
      <p:ext uri="{BB962C8B-B14F-4D97-AF65-F5344CB8AC3E}">
        <p14:creationId xmlns:p14="http://schemas.microsoft.com/office/powerpoint/2010/main" val="11606685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/>
          </a:bodyPr>
          <a:lstStyle/>
          <a:p>
            <a:pPr marL="571500" indent="-342900"/>
            <a:r>
              <a:rPr lang="en-US" sz="2200" dirty="0">
                <a:latin typeface="+mn-lt"/>
              </a:rPr>
              <a:t>Improved time to market</a:t>
            </a:r>
          </a:p>
          <a:p>
            <a:pPr marL="571500" indent="-342900"/>
            <a:r>
              <a:rPr lang="en-US" sz="2200" dirty="0">
                <a:latin typeface="+mn-lt"/>
              </a:rPr>
              <a:t>Faster access to the cloud</a:t>
            </a:r>
          </a:p>
          <a:p>
            <a:pPr marL="571500" indent="-342900"/>
            <a:r>
              <a:rPr lang="en-US" sz="2200" dirty="0">
                <a:latin typeface="+mn-lt"/>
              </a:rPr>
              <a:t>Lower environment creation is as easy a simple ”git commit”</a:t>
            </a:r>
          </a:p>
          <a:p>
            <a:pPr marL="571500" indent="-342900"/>
            <a:r>
              <a:rPr lang="en-US" sz="2200" dirty="0">
                <a:latin typeface="+mn-lt"/>
              </a:rPr>
              <a:t>Best practices are being shared</a:t>
            </a:r>
          </a:p>
          <a:p>
            <a:pPr marL="571500" indent="-342900"/>
            <a:r>
              <a:rPr lang="en-US" sz="2200" dirty="0">
                <a:latin typeface="+mn-lt"/>
              </a:rPr>
              <a:t>Developers are talking to each oth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did Jazz help with adoption</a:t>
            </a:r>
          </a:p>
        </p:txBody>
      </p:sp>
    </p:spTree>
    <p:extLst>
      <p:ext uri="{BB962C8B-B14F-4D97-AF65-F5344CB8AC3E}">
        <p14:creationId xmlns:p14="http://schemas.microsoft.com/office/powerpoint/2010/main" val="2934963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/>
          </a:bodyPr>
          <a:lstStyle/>
          <a:p>
            <a:pPr marL="571500" indent="-342900"/>
            <a:r>
              <a:rPr lang="en-US" sz="2200" dirty="0">
                <a:latin typeface="+mn-lt"/>
              </a:rPr>
              <a:t>Single purpose APIs</a:t>
            </a:r>
          </a:p>
          <a:p>
            <a:pPr marL="571500" indent="-342900"/>
            <a:r>
              <a:rPr lang="en-US" sz="2200" dirty="0">
                <a:latin typeface="+mn-lt"/>
              </a:rPr>
              <a:t>Static Websites</a:t>
            </a:r>
          </a:p>
          <a:p>
            <a:pPr marL="571500" indent="-342900"/>
            <a:r>
              <a:rPr lang="en-US" sz="2200" dirty="0">
                <a:latin typeface="+mn-lt"/>
              </a:rPr>
              <a:t>Event driven applications/functions</a:t>
            </a:r>
          </a:p>
          <a:p>
            <a:pPr marL="571500" indent="-342900"/>
            <a:r>
              <a:rPr lang="en-US" sz="2200" dirty="0">
                <a:latin typeface="+mn-lt"/>
              </a:rPr>
              <a:t>Scheduled functions</a:t>
            </a:r>
          </a:p>
          <a:p>
            <a:pPr marL="571500" indent="-342900"/>
            <a:r>
              <a:rPr lang="en-US" sz="2200" dirty="0">
                <a:latin typeface="+mn-lt"/>
              </a:rPr>
              <a:t>Data transfer/manipulation/processing job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Usecases</a:t>
            </a:r>
          </a:p>
        </p:txBody>
      </p:sp>
    </p:spTree>
    <p:extLst>
      <p:ext uri="{BB962C8B-B14F-4D97-AF65-F5344CB8AC3E}">
        <p14:creationId xmlns:p14="http://schemas.microsoft.com/office/powerpoint/2010/main" val="5676537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case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81C7F22-5491-0C4F-B35B-F0785B8800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991" y="699277"/>
            <a:ext cx="3897991" cy="393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451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1339F3-0324-E345-A76E-7373F42222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r="-1674" b="49163"/>
          <a:stretch/>
        </p:blipFill>
        <p:spPr>
          <a:xfrm>
            <a:off x="1004031" y="422790"/>
            <a:ext cx="7135938" cy="4449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024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7F1F5F-7185-4343-9E42-ED20B8F7CE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860" y="699277"/>
            <a:ext cx="6976280" cy="39573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243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1DE0A2-5CC0-EA46-9A30-F46B05A4C1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7321" y="699277"/>
            <a:ext cx="6030636" cy="3923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3668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/>
          </a:bodyPr>
          <a:lstStyle/>
          <a:p>
            <a:r>
              <a:rPr lang="en-US" sz="2200" dirty="0">
                <a:latin typeface="+mn-lt"/>
              </a:rPr>
              <a:t>Difficult to change developer mindset</a:t>
            </a:r>
          </a:p>
          <a:p>
            <a:r>
              <a:rPr lang="en-US" sz="2200" dirty="0">
                <a:latin typeface="+mn-lt"/>
              </a:rPr>
              <a:t>Looking for Lift-n-Shift</a:t>
            </a:r>
          </a:p>
          <a:p>
            <a:r>
              <a:rPr lang="en-US" sz="2200" dirty="0">
                <a:latin typeface="+mn-lt"/>
              </a:rPr>
              <a:t>Constrained by lot of factors when making modern design choices</a:t>
            </a:r>
          </a:p>
          <a:p>
            <a:r>
              <a:rPr lang="en-US" sz="2200" dirty="0">
                <a:latin typeface="+mn-lt"/>
              </a:rPr>
              <a:t>Developers are not aware of Op-Ex savings</a:t>
            </a:r>
          </a:p>
          <a:p>
            <a:r>
              <a:rPr lang="en-US" sz="2200" dirty="0">
                <a:latin typeface="+mn-lt"/>
              </a:rPr>
              <a:t>Lack of training, not being up-to-date with technology</a:t>
            </a:r>
          </a:p>
          <a:p>
            <a:r>
              <a:rPr lang="en-US" sz="2200" dirty="0">
                <a:latin typeface="+mn-lt"/>
              </a:rPr>
              <a:t>Technical limitations with cloud offerings (might go away with time)</a:t>
            </a:r>
            <a:endParaRPr lang="en-US" sz="2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still remain..</a:t>
            </a:r>
          </a:p>
        </p:txBody>
      </p:sp>
    </p:spTree>
    <p:extLst>
      <p:ext uri="{BB962C8B-B14F-4D97-AF65-F5344CB8AC3E}">
        <p14:creationId xmlns:p14="http://schemas.microsoft.com/office/powerpoint/2010/main" val="3599106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I’m.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EAE3CD-72A9-6945-A3AD-4D8036FF6695}"/>
              </a:ext>
            </a:extLst>
          </p:cNvPr>
          <p:cNvSpPr/>
          <p:nvPr/>
        </p:nvSpPr>
        <p:spPr>
          <a:xfrm>
            <a:off x="182879" y="1796957"/>
            <a:ext cx="492861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Principal Architect @</a:t>
            </a:r>
            <a:r>
              <a:rPr lang="en-US" sz="2000" dirty="0">
                <a:solidFill>
                  <a:schemeClr val="accent1"/>
                </a:solidFill>
              </a:rPr>
              <a:t>T-Mobile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Part of Cloud Center of Excellence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Serverless Advocate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Focus: Cloud Technologies, Application Design &amp; Architecture, Developer Experience &amp; Too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B1B9CF-FE50-C649-9E4F-FE92C8F8A287}"/>
              </a:ext>
            </a:extLst>
          </p:cNvPr>
          <p:cNvSpPr txBox="1"/>
          <p:nvPr/>
        </p:nvSpPr>
        <p:spPr>
          <a:xfrm>
            <a:off x="242314" y="894174"/>
            <a:ext cx="315727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chemeClr val="accent1"/>
                </a:solidFill>
                <a:latin typeface="Tele-GroteskNor" pitchFamily="2" charset="0"/>
                <a:cs typeface="Arial" pitchFamily="34" charset="0"/>
              </a:rPr>
              <a:t>Satish Malireddi</a:t>
            </a:r>
          </a:p>
        </p:txBody>
      </p:sp>
    </p:spTree>
    <p:extLst>
      <p:ext uri="{BB962C8B-B14F-4D97-AF65-F5344CB8AC3E}">
        <p14:creationId xmlns:p14="http://schemas.microsoft.com/office/powerpoint/2010/main" val="39188867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821197"/>
            <a:ext cx="8679766" cy="3914926"/>
          </a:xfrm>
        </p:spPr>
        <p:txBody>
          <a:bodyPr>
            <a:normAutofit fontScale="92500" lnSpcReduction="10000"/>
          </a:bodyPr>
          <a:lstStyle/>
          <a:p>
            <a:r>
              <a:rPr lang="en-US" dirty="0">
                <a:latin typeface="+mn-lt"/>
              </a:rPr>
              <a:t>Identify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use cases</a:t>
            </a:r>
            <a:r>
              <a:rPr lang="en-US" dirty="0">
                <a:latin typeface="+mn-lt"/>
              </a:rPr>
              <a:t> that are best suited and go after them</a:t>
            </a:r>
          </a:p>
          <a:p>
            <a:r>
              <a:rPr lang="en-US" dirty="0">
                <a:latin typeface="+mn-lt"/>
              </a:rPr>
              <a:t>Don't over engineer! Serverless might not be the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perfect fit </a:t>
            </a:r>
            <a:r>
              <a:rPr lang="en-US" dirty="0">
                <a:latin typeface="+mn-lt"/>
              </a:rPr>
              <a:t>for all your applications</a:t>
            </a:r>
          </a:p>
          <a:p>
            <a:r>
              <a:rPr lang="en-US" dirty="0">
                <a:latin typeface="+mn-lt"/>
              </a:rPr>
              <a:t>Provide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visibility into cost </a:t>
            </a:r>
            <a:r>
              <a:rPr lang="en-US" dirty="0">
                <a:latin typeface="+mn-lt"/>
              </a:rPr>
              <a:t>savings/estimates during the development phase</a:t>
            </a:r>
          </a:p>
          <a:p>
            <a:r>
              <a:rPr lang="en-US" dirty="0">
                <a:solidFill>
                  <a:srgbClr val="CC006A"/>
                </a:solidFill>
                <a:latin typeface="+mn-lt"/>
              </a:rPr>
              <a:t>Training</a:t>
            </a:r>
            <a:r>
              <a:rPr lang="en-US" dirty="0">
                <a:latin typeface="+mn-lt"/>
              </a:rPr>
              <a:t> (most of the time its about people not being aware) &amp; make it a continuous exercise</a:t>
            </a:r>
          </a:p>
          <a:p>
            <a:r>
              <a:rPr lang="en-US" dirty="0">
                <a:latin typeface="+mn-lt"/>
              </a:rPr>
              <a:t>Have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CoE</a:t>
            </a:r>
            <a:r>
              <a:rPr lang="en-US" dirty="0">
                <a:latin typeface="+mn-lt"/>
              </a:rPr>
              <a:t> teams: Dedicated folks who can experiment, learn, train others, identify tools to empower developers</a:t>
            </a:r>
          </a:p>
          <a:p>
            <a:r>
              <a:rPr lang="en-US" dirty="0">
                <a:latin typeface="+mn-lt"/>
              </a:rPr>
              <a:t>Create framework for developers so that they can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experiment easily </a:t>
            </a:r>
            <a:r>
              <a:rPr lang="en-US" dirty="0">
                <a:latin typeface="+mn-lt"/>
              </a:rPr>
              <a:t>within controlled guard rails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If you are developing abstractions, </a:t>
            </a:r>
            <a:r>
              <a:rPr lang="en-US" dirty="0">
                <a:solidFill>
                  <a:srgbClr val="CC006A"/>
                </a:solidFill>
                <a:latin typeface="+mn-lt"/>
              </a:rPr>
              <a:t>listen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to your developers to solve their pain points and improve developer experien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that worked for us</a:t>
            </a:r>
          </a:p>
        </p:txBody>
      </p:sp>
    </p:spTree>
    <p:extLst>
      <p:ext uri="{BB962C8B-B14F-4D97-AF65-F5344CB8AC3E}">
        <p14:creationId xmlns:p14="http://schemas.microsoft.com/office/powerpoint/2010/main" val="36286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DDE9BB3-857D-454E-AC56-41A4DC998BC2}"/>
              </a:ext>
            </a:extLst>
          </p:cNvPr>
          <p:cNvSpPr txBox="1"/>
          <p:nvPr/>
        </p:nvSpPr>
        <p:spPr>
          <a:xfrm>
            <a:off x="4443046" y="5040923"/>
            <a:ext cx="0" cy="0"/>
          </a:xfrm>
          <a:prstGeom prst="rect">
            <a:avLst/>
          </a:prstGeom>
          <a:noFill/>
        </p:spPr>
        <p:txBody>
          <a:bodyPr wrap="none" lIns="45720" rIns="45720" rtlCol="0">
            <a:noAutofit/>
          </a:bodyPr>
          <a:lstStyle/>
          <a:p>
            <a:pPr marL="173038" indent="-173038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5A5161A-AC56-8043-8778-07102426F6FF}"/>
              </a:ext>
            </a:extLst>
          </p:cNvPr>
          <p:cNvSpPr txBox="1"/>
          <p:nvPr/>
        </p:nvSpPr>
        <p:spPr>
          <a:xfrm>
            <a:off x="4255477" y="4994031"/>
            <a:ext cx="0" cy="0"/>
          </a:xfrm>
          <a:prstGeom prst="rect">
            <a:avLst/>
          </a:prstGeom>
          <a:noFill/>
        </p:spPr>
        <p:txBody>
          <a:bodyPr wrap="none" lIns="45720" rIns="45720" rtlCol="0">
            <a:noAutofit/>
          </a:bodyPr>
          <a:lstStyle/>
          <a:p>
            <a:pPr marL="173038" indent="-173038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3825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DEAE3CD-72A9-6945-A3AD-4D8036FF6695}"/>
              </a:ext>
            </a:extLst>
          </p:cNvPr>
          <p:cNvSpPr/>
          <p:nvPr/>
        </p:nvSpPr>
        <p:spPr>
          <a:xfrm>
            <a:off x="182879" y="1147733"/>
            <a:ext cx="492861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T-Mobile’s Serverless Journey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Challenges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Business Case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Toolset &amp; Serverless Adoption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Use Cases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2000" dirty="0"/>
              <a:t>Adoption Plan (that worked for us!)</a:t>
            </a:r>
          </a:p>
        </p:txBody>
      </p:sp>
    </p:spTree>
    <p:extLst>
      <p:ext uri="{BB962C8B-B14F-4D97-AF65-F5344CB8AC3E}">
        <p14:creationId xmlns:p14="http://schemas.microsoft.com/office/powerpoint/2010/main" val="2373109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Serverless Journey…</a:t>
            </a:r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9DB59E6-7741-5549-BD2C-CD60558289D1}"/>
              </a:ext>
            </a:extLst>
          </p:cNvPr>
          <p:cNvCxnSpPr/>
          <p:nvPr/>
        </p:nvCxnSpPr>
        <p:spPr>
          <a:xfrm>
            <a:off x="5627182" y="2591891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F1789F2-517F-8646-ACA5-2D4E5CB9CDAD}"/>
              </a:ext>
            </a:extLst>
          </p:cNvPr>
          <p:cNvCxnSpPr/>
          <p:nvPr/>
        </p:nvCxnSpPr>
        <p:spPr>
          <a:xfrm>
            <a:off x="3363433" y="2591891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1816B67-CB53-6F45-B97A-0C93C40611AF}"/>
              </a:ext>
            </a:extLst>
          </p:cNvPr>
          <p:cNvCxnSpPr/>
          <p:nvPr/>
        </p:nvCxnSpPr>
        <p:spPr>
          <a:xfrm>
            <a:off x="1110000" y="2591891"/>
            <a:ext cx="225287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rc 13">
            <a:extLst>
              <a:ext uri="{FF2B5EF4-FFF2-40B4-BE49-F238E27FC236}">
                <a16:creationId xmlns:a16="http://schemas.microsoft.com/office/drawing/2014/main" id="{C9CE63C6-ED8C-204E-9D5B-E3909225C894}"/>
              </a:ext>
            </a:extLst>
          </p:cNvPr>
          <p:cNvSpPr/>
          <p:nvPr/>
        </p:nvSpPr>
        <p:spPr>
          <a:xfrm>
            <a:off x="602691" y="2132310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F8F6FBC-DA2D-554B-A3B2-C8C313F51080}"/>
              </a:ext>
            </a:extLst>
          </p:cNvPr>
          <p:cNvSpPr/>
          <p:nvPr/>
        </p:nvSpPr>
        <p:spPr>
          <a:xfrm>
            <a:off x="967022" y="2496641"/>
            <a:ext cx="190500" cy="19050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Circle: Hollow 8">
            <a:extLst>
              <a:ext uri="{FF2B5EF4-FFF2-40B4-BE49-F238E27FC236}">
                <a16:creationId xmlns:a16="http://schemas.microsoft.com/office/drawing/2014/main" id="{B72C5C30-B897-3B4B-8E77-721ABAF2753D}"/>
              </a:ext>
            </a:extLst>
          </p:cNvPr>
          <p:cNvSpPr/>
          <p:nvPr/>
        </p:nvSpPr>
        <p:spPr>
          <a:xfrm>
            <a:off x="847959" y="2377578"/>
            <a:ext cx="428626" cy="428626"/>
          </a:xfrm>
          <a:prstGeom prst="donut">
            <a:avLst>
              <a:gd name="adj" fmla="val 5281"/>
            </a:avLst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7" name="Circle: Hollow 9">
            <a:extLst>
              <a:ext uri="{FF2B5EF4-FFF2-40B4-BE49-F238E27FC236}">
                <a16:creationId xmlns:a16="http://schemas.microsoft.com/office/drawing/2014/main" id="{901A3908-0DF6-3C4C-B9A5-205A99E63999}"/>
              </a:ext>
            </a:extLst>
          </p:cNvPr>
          <p:cNvSpPr/>
          <p:nvPr/>
        </p:nvSpPr>
        <p:spPr>
          <a:xfrm>
            <a:off x="715087" y="2244706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88B8244-F101-1D4C-8BB3-5907B1B75107}"/>
              </a:ext>
            </a:extLst>
          </p:cNvPr>
          <p:cNvCxnSpPr>
            <a:cxnSpLocks/>
            <a:stCxn id="19" idx="0"/>
          </p:cNvCxnSpPr>
          <p:nvPr/>
        </p:nvCxnSpPr>
        <p:spPr>
          <a:xfrm flipV="1">
            <a:off x="1073995" y="2939079"/>
            <a:ext cx="1" cy="539332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>
            <a:extLst>
              <a:ext uri="{FF2B5EF4-FFF2-40B4-BE49-F238E27FC236}">
                <a16:creationId xmlns:a16="http://schemas.microsoft.com/office/drawing/2014/main" id="{EB200087-BE0E-434B-BE40-E468EBAF5705}"/>
              </a:ext>
            </a:extLst>
          </p:cNvPr>
          <p:cNvSpPr/>
          <p:nvPr/>
        </p:nvSpPr>
        <p:spPr>
          <a:xfrm>
            <a:off x="1011875" y="3478411"/>
            <a:ext cx="124240" cy="124240"/>
          </a:xfrm>
          <a:prstGeom prst="ellipse">
            <a:avLst/>
          </a:prstGeom>
          <a:solidFill>
            <a:srgbClr val="03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86E151-4F33-F34C-90AB-37AC237B6E8F}"/>
              </a:ext>
            </a:extLst>
          </p:cNvPr>
          <p:cNvSpPr txBox="1"/>
          <p:nvPr/>
        </p:nvSpPr>
        <p:spPr>
          <a:xfrm>
            <a:off x="304580" y="1945970"/>
            <a:ext cx="151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03A1A4"/>
                </a:solidFill>
                <a:latin typeface="Century Gothic" panose="020B0502020202020204" pitchFamily="34" charset="0"/>
              </a:rPr>
              <a:t>2017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8ABA705-8F3D-9045-A601-559D4EDFAC2A}"/>
              </a:ext>
            </a:extLst>
          </p:cNvPr>
          <p:cNvSpPr txBox="1"/>
          <p:nvPr/>
        </p:nvSpPr>
        <p:spPr>
          <a:xfrm>
            <a:off x="139355" y="3678706"/>
            <a:ext cx="320104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2">
                    <a:lumMod val="50000"/>
                  </a:schemeClr>
                </a:solidFill>
              </a:rPr>
              <a:t>Proof of concep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Microsi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Policy &amp; Compliance Manag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CC006A"/>
                </a:solidFill>
              </a:rPr>
              <a:t>Jazz – Open source</a:t>
            </a:r>
            <a:endParaRPr lang="en-US" sz="1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2" name="Arc 21">
            <a:extLst>
              <a:ext uri="{FF2B5EF4-FFF2-40B4-BE49-F238E27FC236}">
                <a16:creationId xmlns:a16="http://schemas.microsoft.com/office/drawing/2014/main" id="{F4922F22-21A6-C14A-BD73-E5FF68BABCD7}"/>
              </a:ext>
            </a:extLst>
          </p:cNvPr>
          <p:cNvSpPr/>
          <p:nvPr/>
        </p:nvSpPr>
        <p:spPr>
          <a:xfrm rot="5400000">
            <a:off x="2841169" y="2132310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801B40D-8903-214B-8086-39316526EF09}"/>
              </a:ext>
            </a:extLst>
          </p:cNvPr>
          <p:cNvSpPr/>
          <p:nvPr/>
        </p:nvSpPr>
        <p:spPr>
          <a:xfrm>
            <a:off x="3205500" y="2496641"/>
            <a:ext cx="190500" cy="19050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4" name="Circle: Hollow 20">
            <a:extLst>
              <a:ext uri="{FF2B5EF4-FFF2-40B4-BE49-F238E27FC236}">
                <a16:creationId xmlns:a16="http://schemas.microsoft.com/office/drawing/2014/main" id="{3CD7EF99-DBDC-A44C-B605-AA47E0DCDF87}"/>
              </a:ext>
            </a:extLst>
          </p:cNvPr>
          <p:cNvSpPr/>
          <p:nvPr/>
        </p:nvSpPr>
        <p:spPr>
          <a:xfrm>
            <a:off x="3086437" y="2377578"/>
            <a:ext cx="428626" cy="428626"/>
          </a:xfrm>
          <a:prstGeom prst="donut">
            <a:avLst>
              <a:gd name="adj" fmla="val 5281"/>
            </a:avLst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5" name="Circle: Hollow 21">
            <a:extLst>
              <a:ext uri="{FF2B5EF4-FFF2-40B4-BE49-F238E27FC236}">
                <a16:creationId xmlns:a16="http://schemas.microsoft.com/office/drawing/2014/main" id="{7091A898-C569-B44D-9055-BA79B2C8AD55}"/>
              </a:ext>
            </a:extLst>
          </p:cNvPr>
          <p:cNvSpPr/>
          <p:nvPr/>
        </p:nvSpPr>
        <p:spPr>
          <a:xfrm>
            <a:off x="2953565" y="2244706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4318096-CFA8-934D-B292-13C01CF9C6B3}"/>
              </a:ext>
            </a:extLst>
          </p:cNvPr>
          <p:cNvCxnSpPr>
            <a:cxnSpLocks/>
            <a:endCxn id="27" idx="4"/>
          </p:cNvCxnSpPr>
          <p:nvPr/>
        </p:nvCxnSpPr>
        <p:spPr>
          <a:xfrm flipH="1" flipV="1">
            <a:off x="3300750" y="1746400"/>
            <a:ext cx="2" cy="498308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E2315AB2-307B-F342-9662-FB44C925D65D}"/>
              </a:ext>
            </a:extLst>
          </p:cNvPr>
          <p:cNvSpPr/>
          <p:nvPr/>
        </p:nvSpPr>
        <p:spPr>
          <a:xfrm>
            <a:off x="3238630" y="1622160"/>
            <a:ext cx="124240" cy="124240"/>
          </a:xfrm>
          <a:prstGeom prst="ellipse">
            <a:avLst/>
          </a:prstGeom>
          <a:solidFill>
            <a:srgbClr val="EE95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651390F-1489-7E4A-8132-E0B0A498BA47}"/>
              </a:ext>
            </a:extLst>
          </p:cNvPr>
          <p:cNvSpPr txBox="1"/>
          <p:nvPr/>
        </p:nvSpPr>
        <p:spPr>
          <a:xfrm>
            <a:off x="2543057" y="2979183"/>
            <a:ext cx="151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EE9524"/>
                </a:solidFill>
                <a:latin typeface="Century Gothic" panose="020B0502020202020204" pitchFamily="34" charset="0"/>
              </a:rPr>
              <a:t>2018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7D6F0E6-18D0-6C46-8149-711BF15710B5}"/>
              </a:ext>
            </a:extLst>
          </p:cNvPr>
          <p:cNvSpPr txBox="1"/>
          <p:nvPr/>
        </p:nvSpPr>
        <p:spPr>
          <a:xfrm>
            <a:off x="1948872" y="836370"/>
            <a:ext cx="278235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housands of Func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Millions of Invocations per d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CC006A"/>
                </a:solidFill>
              </a:rPr>
              <a:t>Jazz - Production Ready!</a:t>
            </a:r>
          </a:p>
        </p:txBody>
      </p:sp>
      <p:sp>
        <p:nvSpPr>
          <p:cNvPr id="30" name="Arc 29">
            <a:extLst>
              <a:ext uri="{FF2B5EF4-FFF2-40B4-BE49-F238E27FC236}">
                <a16:creationId xmlns:a16="http://schemas.microsoft.com/office/drawing/2014/main" id="{16BB7B11-5CA4-8648-8D32-B878676F9F40}"/>
              </a:ext>
            </a:extLst>
          </p:cNvPr>
          <p:cNvSpPr/>
          <p:nvPr/>
        </p:nvSpPr>
        <p:spPr>
          <a:xfrm>
            <a:off x="5094602" y="2132310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C839796-922A-8243-858C-E0CE62A1551D}"/>
              </a:ext>
            </a:extLst>
          </p:cNvPr>
          <p:cNvSpPr/>
          <p:nvPr/>
        </p:nvSpPr>
        <p:spPr>
          <a:xfrm>
            <a:off x="5458933" y="2496641"/>
            <a:ext cx="190500" cy="19050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2" name="Circle: Hollow 29">
            <a:extLst>
              <a:ext uri="{FF2B5EF4-FFF2-40B4-BE49-F238E27FC236}">
                <a16:creationId xmlns:a16="http://schemas.microsoft.com/office/drawing/2014/main" id="{1DB3E480-D159-FB43-B3E5-11BAA046CA4B}"/>
              </a:ext>
            </a:extLst>
          </p:cNvPr>
          <p:cNvSpPr/>
          <p:nvPr/>
        </p:nvSpPr>
        <p:spPr>
          <a:xfrm>
            <a:off x="5339870" y="2377578"/>
            <a:ext cx="428626" cy="428626"/>
          </a:xfrm>
          <a:prstGeom prst="donut">
            <a:avLst>
              <a:gd name="adj" fmla="val 5281"/>
            </a:avLst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3" name="Circle: Hollow 30">
            <a:extLst>
              <a:ext uri="{FF2B5EF4-FFF2-40B4-BE49-F238E27FC236}">
                <a16:creationId xmlns:a16="http://schemas.microsoft.com/office/drawing/2014/main" id="{F0067876-A365-7845-AC22-050B5D42B983}"/>
              </a:ext>
            </a:extLst>
          </p:cNvPr>
          <p:cNvSpPr/>
          <p:nvPr/>
        </p:nvSpPr>
        <p:spPr>
          <a:xfrm>
            <a:off x="5206998" y="2244706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B3E1A7B-DDD7-D141-AD30-76B574A1DEFC}"/>
              </a:ext>
            </a:extLst>
          </p:cNvPr>
          <p:cNvCxnSpPr>
            <a:cxnSpLocks/>
          </p:cNvCxnSpPr>
          <p:nvPr/>
        </p:nvCxnSpPr>
        <p:spPr>
          <a:xfrm flipV="1">
            <a:off x="5554184" y="2939078"/>
            <a:ext cx="0" cy="539333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33A68847-B213-2845-981D-3345677AF8A0}"/>
              </a:ext>
            </a:extLst>
          </p:cNvPr>
          <p:cNvSpPr/>
          <p:nvPr/>
        </p:nvSpPr>
        <p:spPr>
          <a:xfrm>
            <a:off x="5502942" y="3466105"/>
            <a:ext cx="124240" cy="124240"/>
          </a:xfrm>
          <a:prstGeom prst="ellipse">
            <a:avLst/>
          </a:prstGeom>
          <a:solidFill>
            <a:srgbClr val="EF3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00E1885-998D-0449-8898-48F500CA9054}"/>
              </a:ext>
            </a:extLst>
          </p:cNvPr>
          <p:cNvSpPr txBox="1"/>
          <p:nvPr/>
        </p:nvSpPr>
        <p:spPr>
          <a:xfrm>
            <a:off x="4796491" y="1945970"/>
            <a:ext cx="151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EF3078"/>
                </a:solidFill>
                <a:latin typeface="Century Gothic" panose="020B0502020202020204" pitchFamily="34" charset="0"/>
              </a:rPr>
              <a:t>2019</a:t>
            </a:r>
          </a:p>
        </p:txBody>
      </p:sp>
      <p:sp>
        <p:nvSpPr>
          <p:cNvPr id="38" name="Arc 37">
            <a:extLst>
              <a:ext uri="{FF2B5EF4-FFF2-40B4-BE49-F238E27FC236}">
                <a16:creationId xmlns:a16="http://schemas.microsoft.com/office/drawing/2014/main" id="{ECCA04FD-70E9-7B46-B068-EAF82FEFCEAF}"/>
              </a:ext>
            </a:extLst>
          </p:cNvPr>
          <p:cNvSpPr/>
          <p:nvPr/>
        </p:nvSpPr>
        <p:spPr>
          <a:xfrm rot="5400000">
            <a:off x="7358351" y="2132310"/>
            <a:ext cx="919162" cy="919162"/>
          </a:xfrm>
          <a:prstGeom prst="arc">
            <a:avLst>
              <a:gd name="adj1" fmla="val 5420354"/>
              <a:gd name="adj2" fmla="val 10853341"/>
            </a:avLst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1E8CABEC-2729-104F-A2BF-4288A4D80B7D}"/>
              </a:ext>
            </a:extLst>
          </p:cNvPr>
          <p:cNvSpPr/>
          <p:nvPr/>
        </p:nvSpPr>
        <p:spPr>
          <a:xfrm>
            <a:off x="7722682" y="2496641"/>
            <a:ext cx="190500" cy="19050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0" name="Circle: Hollow 46">
            <a:extLst>
              <a:ext uri="{FF2B5EF4-FFF2-40B4-BE49-F238E27FC236}">
                <a16:creationId xmlns:a16="http://schemas.microsoft.com/office/drawing/2014/main" id="{6C904903-F6E6-D541-B2F9-7FDCFC75A117}"/>
              </a:ext>
            </a:extLst>
          </p:cNvPr>
          <p:cNvSpPr/>
          <p:nvPr/>
        </p:nvSpPr>
        <p:spPr>
          <a:xfrm>
            <a:off x="7603619" y="2377578"/>
            <a:ext cx="428626" cy="428626"/>
          </a:xfrm>
          <a:prstGeom prst="donut">
            <a:avLst>
              <a:gd name="adj" fmla="val 5281"/>
            </a:avLst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1" name="Circle: Hollow 47">
            <a:extLst>
              <a:ext uri="{FF2B5EF4-FFF2-40B4-BE49-F238E27FC236}">
                <a16:creationId xmlns:a16="http://schemas.microsoft.com/office/drawing/2014/main" id="{0F995623-27ED-224C-A738-79AF6A6220F1}"/>
              </a:ext>
            </a:extLst>
          </p:cNvPr>
          <p:cNvSpPr/>
          <p:nvPr/>
        </p:nvSpPr>
        <p:spPr>
          <a:xfrm>
            <a:off x="7470747" y="2244706"/>
            <a:ext cx="694370" cy="694370"/>
          </a:xfrm>
          <a:prstGeom prst="donut">
            <a:avLst>
              <a:gd name="adj" fmla="val 2879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7980DFC-A327-5744-BCF1-44D72642D050}"/>
              </a:ext>
            </a:extLst>
          </p:cNvPr>
          <p:cNvCxnSpPr>
            <a:cxnSpLocks/>
          </p:cNvCxnSpPr>
          <p:nvPr/>
        </p:nvCxnSpPr>
        <p:spPr>
          <a:xfrm flipV="1">
            <a:off x="7817933" y="1746400"/>
            <a:ext cx="0" cy="498307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Oval 42">
            <a:extLst>
              <a:ext uri="{FF2B5EF4-FFF2-40B4-BE49-F238E27FC236}">
                <a16:creationId xmlns:a16="http://schemas.microsoft.com/office/drawing/2014/main" id="{8D26C628-4953-1841-BA9D-F495DB676C03}"/>
              </a:ext>
            </a:extLst>
          </p:cNvPr>
          <p:cNvSpPr/>
          <p:nvPr/>
        </p:nvSpPr>
        <p:spPr>
          <a:xfrm>
            <a:off x="7755812" y="1622160"/>
            <a:ext cx="124240" cy="124240"/>
          </a:xfrm>
          <a:prstGeom prst="ellipse">
            <a:avLst/>
          </a:prstGeom>
          <a:solidFill>
            <a:srgbClr val="1C7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58449A5-A7A5-9E44-9527-94DF931FCC86}"/>
              </a:ext>
            </a:extLst>
          </p:cNvPr>
          <p:cNvSpPr txBox="1"/>
          <p:nvPr/>
        </p:nvSpPr>
        <p:spPr>
          <a:xfrm>
            <a:off x="7060239" y="2979183"/>
            <a:ext cx="151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1C7CBB"/>
                </a:solidFill>
                <a:latin typeface="Century Gothic" panose="020B0502020202020204" pitchFamily="34" charset="0"/>
              </a:rPr>
              <a:t>2020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9F49017-9F16-D949-920F-EDD8CA799949}"/>
              </a:ext>
            </a:extLst>
          </p:cNvPr>
          <p:cNvSpPr txBox="1"/>
          <p:nvPr/>
        </p:nvSpPr>
        <p:spPr>
          <a:xfrm>
            <a:off x="6212009" y="839853"/>
            <a:ext cx="28704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3X growth in serverless workloa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Tier-1 Applic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Spike in $, #requests &amp; #resources</a:t>
            </a: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5CF523F2-051C-EA48-9250-CBB267EE3FC4}"/>
              </a:ext>
            </a:extLst>
          </p:cNvPr>
          <p:cNvCxnSpPr>
            <a:cxnSpLocks/>
          </p:cNvCxnSpPr>
          <p:nvPr/>
        </p:nvCxnSpPr>
        <p:spPr>
          <a:xfrm>
            <a:off x="270538" y="4671019"/>
            <a:ext cx="2048865" cy="0"/>
          </a:xfrm>
          <a:prstGeom prst="line">
            <a:avLst/>
          </a:prstGeom>
          <a:ln w="19050">
            <a:solidFill>
              <a:srgbClr val="03A1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CEA9B11-D045-6949-9C48-127403EB8BF8}"/>
              </a:ext>
            </a:extLst>
          </p:cNvPr>
          <p:cNvCxnSpPr>
            <a:cxnSpLocks/>
          </p:cNvCxnSpPr>
          <p:nvPr/>
        </p:nvCxnSpPr>
        <p:spPr>
          <a:xfrm>
            <a:off x="4722081" y="4709971"/>
            <a:ext cx="2048865" cy="0"/>
          </a:xfrm>
          <a:prstGeom prst="line">
            <a:avLst/>
          </a:prstGeom>
          <a:ln w="19050">
            <a:solidFill>
              <a:srgbClr val="EF3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80F53EEA-1F17-E440-926E-62EF8891E701}"/>
              </a:ext>
            </a:extLst>
          </p:cNvPr>
          <p:cNvCxnSpPr>
            <a:cxnSpLocks/>
          </p:cNvCxnSpPr>
          <p:nvPr/>
        </p:nvCxnSpPr>
        <p:spPr>
          <a:xfrm>
            <a:off x="2288041" y="829939"/>
            <a:ext cx="2048865" cy="0"/>
          </a:xfrm>
          <a:prstGeom prst="line">
            <a:avLst/>
          </a:prstGeom>
          <a:ln w="19050">
            <a:solidFill>
              <a:srgbClr val="EE952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F4B860D1-EB86-A94E-AC43-71F5414A98FB}"/>
              </a:ext>
            </a:extLst>
          </p:cNvPr>
          <p:cNvCxnSpPr>
            <a:cxnSpLocks/>
          </p:cNvCxnSpPr>
          <p:nvPr/>
        </p:nvCxnSpPr>
        <p:spPr>
          <a:xfrm>
            <a:off x="6241582" y="825766"/>
            <a:ext cx="2574172" cy="0"/>
          </a:xfrm>
          <a:prstGeom prst="line">
            <a:avLst/>
          </a:prstGeom>
          <a:ln w="19050">
            <a:solidFill>
              <a:srgbClr val="1C7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E1739D74-0AC1-074E-A7F5-C1F901530F9B}"/>
              </a:ext>
            </a:extLst>
          </p:cNvPr>
          <p:cNvSpPr txBox="1"/>
          <p:nvPr/>
        </p:nvSpPr>
        <p:spPr>
          <a:xfrm>
            <a:off x="4452035" y="3654979"/>
            <a:ext cx="270313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Platform Strategy - Serverless Fir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Billions of events per mon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Multiple apps in pro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CC006A"/>
                </a:solidFill>
              </a:rPr>
              <a:t>Jazz Adoption</a:t>
            </a:r>
          </a:p>
        </p:txBody>
      </p:sp>
    </p:spTree>
    <p:extLst>
      <p:ext uri="{BB962C8B-B14F-4D97-AF65-F5344CB8AC3E}">
        <p14:creationId xmlns:p14="http://schemas.microsoft.com/office/powerpoint/2010/main" val="1544083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563F683-3F24-3748-A10C-CAC2DDD39B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86132" y="1137722"/>
            <a:ext cx="5971735" cy="73996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</a:rPr>
              <a:t>Our serverless adoption journey was not easy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69B38D-3B15-7A45-9FB0-9DE925CF5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C3467CDF-B5C9-6C4A-83A6-0E2B3D18778C}"/>
              </a:ext>
            </a:extLst>
          </p:cNvPr>
          <p:cNvSpPr txBox="1">
            <a:spLocks/>
          </p:cNvSpPr>
          <p:nvPr/>
        </p:nvSpPr>
        <p:spPr>
          <a:xfrm>
            <a:off x="1586132" y="1877683"/>
            <a:ext cx="5971735" cy="2143334"/>
          </a:xfrm>
          <a:prstGeom prst="rect">
            <a:avLst/>
          </a:prstGeom>
        </p:spPr>
        <p:txBody>
          <a:bodyPr vert="horz" lIns="68681" tIns="34340" rIns="68681" bIns="34340" rtlCol="0">
            <a:normAutofit fontScale="85000" lnSpcReduction="20000"/>
          </a:bodyPr>
          <a:lstStyle>
            <a:lvl1pPr marL="257552" indent="-257552" algn="l" defTabSz="343403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4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n-ea"/>
                <a:cs typeface="Arial" pitchFamily="34" charset="0"/>
              </a:defRPr>
            </a:lvl1pPr>
            <a:lvl2pPr marL="558030" indent="-214627" algn="l" defTabSz="343403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8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Arial" pitchFamily="34" charset="0"/>
              </a:defRPr>
            </a:lvl2pPr>
            <a:lvl3pPr marL="858507" indent="-171701" algn="l" defTabSz="343403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Arial" pitchFamily="34" charset="0"/>
              </a:defRPr>
            </a:lvl3pPr>
            <a:lvl4pPr marL="1201910" indent="-171701" algn="l" defTabSz="343403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Arial" pitchFamily="34" charset="0"/>
              </a:defRPr>
            </a:lvl4pPr>
            <a:lvl5pPr marL="1545313" indent="-171701" algn="l" defTabSz="343403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Arial" pitchFamily="34" charset="0"/>
              </a:defRPr>
            </a:lvl5pPr>
            <a:lvl6pPr marL="1888716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32119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5522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8925" indent="-171701" algn="l" defTabSz="343403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tx1"/>
                </a:solidFill>
                <a:latin typeface="+mn-lt"/>
              </a:rPr>
              <a:t>Because many developers think serverless…</a:t>
            </a:r>
          </a:p>
          <a:p>
            <a:pPr marL="0" indent="0">
              <a:buNone/>
            </a:pPr>
            <a:endParaRPr lang="en-US" dirty="0">
              <a:solidFill>
                <a:schemeClr val="tx1"/>
              </a:solidFill>
              <a:latin typeface="+mn-lt"/>
            </a:endParaRP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is new &amp; immature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has limitations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requires a lot of architectural changes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ecosystem is always changing</a:t>
            </a:r>
          </a:p>
          <a:p>
            <a:r>
              <a:rPr lang="en-US" dirty="0">
                <a:solidFill>
                  <a:schemeClr val="tx1"/>
                </a:solidFill>
                <a:latin typeface="+mn-lt"/>
              </a:rPr>
              <a:t>might actually become expensive</a:t>
            </a:r>
          </a:p>
        </p:txBody>
      </p:sp>
    </p:spTree>
    <p:extLst>
      <p:ext uri="{BB962C8B-B14F-4D97-AF65-F5344CB8AC3E}">
        <p14:creationId xmlns:p14="http://schemas.microsoft.com/office/powerpoint/2010/main" val="1994590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Business Case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8694FF0-8DAD-1642-9D22-B45CD408A24B}"/>
              </a:ext>
            </a:extLst>
          </p:cNvPr>
          <p:cNvSpPr txBox="1"/>
          <p:nvPr/>
        </p:nvSpPr>
        <p:spPr>
          <a:xfrm>
            <a:off x="1517904" y="1975104"/>
            <a:ext cx="64830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+mj-lt"/>
                <a:cs typeface="Arial" pitchFamily="34" charset="0"/>
              </a:rPr>
              <a:t>Why should we really use serverless?</a:t>
            </a:r>
          </a:p>
        </p:txBody>
      </p:sp>
    </p:spTree>
    <p:extLst>
      <p:ext uri="{BB962C8B-B14F-4D97-AF65-F5344CB8AC3E}">
        <p14:creationId xmlns:p14="http://schemas.microsoft.com/office/powerpoint/2010/main" val="30485379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Business Case</a:t>
            </a:r>
            <a:endParaRPr lang="en-US" dirty="0"/>
          </a:p>
        </p:txBody>
      </p:sp>
      <p:pic>
        <p:nvPicPr>
          <p:cNvPr id="10" name="Graphic 9" descr="Dollar">
            <a:extLst>
              <a:ext uri="{FF2B5EF4-FFF2-40B4-BE49-F238E27FC236}">
                <a16:creationId xmlns:a16="http://schemas.microsoft.com/office/drawing/2014/main" id="{D7972349-66AE-1C45-80B2-FF241D1C7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32109" y="1843251"/>
            <a:ext cx="604308" cy="604308"/>
          </a:xfrm>
          <a:prstGeom prst="rect">
            <a:avLst/>
          </a:prstGeom>
        </p:spPr>
      </p:pic>
      <p:pic>
        <p:nvPicPr>
          <p:cNvPr id="18" name="Graphic 17" descr="Gavel">
            <a:extLst>
              <a:ext uri="{FF2B5EF4-FFF2-40B4-BE49-F238E27FC236}">
                <a16:creationId xmlns:a16="http://schemas.microsoft.com/office/drawing/2014/main" id="{065C7671-A228-0B44-AD7A-41451EA943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72502" y="1824875"/>
            <a:ext cx="604308" cy="604308"/>
          </a:xfrm>
          <a:prstGeom prst="rect">
            <a:avLst/>
          </a:prstGeom>
        </p:spPr>
      </p:pic>
      <p:pic>
        <p:nvPicPr>
          <p:cNvPr id="15" name="Graphic 14" descr="Run with solid fill">
            <a:extLst>
              <a:ext uri="{FF2B5EF4-FFF2-40B4-BE49-F238E27FC236}">
                <a16:creationId xmlns:a16="http://schemas.microsoft.com/office/drawing/2014/main" id="{5BB99A33-ED53-0B41-8786-9C64772C10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76540" y="1843653"/>
            <a:ext cx="603504" cy="6035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71101AA-921A-D74D-90BF-E77B24D22A2C}"/>
              </a:ext>
            </a:extLst>
          </p:cNvPr>
          <p:cNvSpPr txBox="1"/>
          <p:nvPr/>
        </p:nvSpPr>
        <p:spPr>
          <a:xfrm>
            <a:off x="763959" y="2841634"/>
            <a:ext cx="1685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cs typeface="Arial" pitchFamily="34" charset="0"/>
              </a:rPr>
              <a:t>Cos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807BA3-9266-8C45-8D80-D378AD7654EC}"/>
              </a:ext>
            </a:extLst>
          </p:cNvPr>
          <p:cNvSpPr/>
          <p:nvPr/>
        </p:nvSpPr>
        <p:spPr>
          <a:xfrm>
            <a:off x="3040668" y="2841634"/>
            <a:ext cx="2867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cs typeface="Arial" pitchFamily="34" charset="0"/>
              </a:rPr>
              <a:t>Securit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DD139-25FB-3049-8F56-4C9B65F76EB7}"/>
              </a:ext>
            </a:extLst>
          </p:cNvPr>
          <p:cNvSpPr/>
          <p:nvPr/>
        </p:nvSpPr>
        <p:spPr>
          <a:xfrm>
            <a:off x="5744304" y="2841634"/>
            <a:ext cx="28679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cs typeface="Arial" pitchFamily="34" charset="0"/>
              </a:rPr>
              <a:t>Agility</a:t>
            </a:r>
            <a:endParaRPr lang="en-US" sz="2000" b="1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805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82E84E6A-F3F0-C848-AE7B-D47ECB4B5A49}"/>
              </a:ext>
            </a:extLst>
          </p:cNvPr>
          <p:cNvSpPr txBox="1">
            <a:spLocks/>
          </p:cNvSpPr>
          <p:nvPr/>
        </p:nvSpPr>
        <p:spPr>
          <a:xfrm>
            <a:off x="182879" y="146304"/>
            <a:ext cx="8778239" cy="552973"/>
          </a:xfrm>
          <a:prstGeom prst="rect">
            <a:avLst/>
          </a:prstGeom>
        </p:spPr>
        <p:txBody>
          <a:bodyPr vert="horz" lIns="68681" tIns="34340" rIns="68681" bIns="34340" rtlCol="0" anchor="ctr">
            <a:noAutofit/>
          </a:bodyPr>
          <a:lstStyle>
            <a:lvl1pPr algn="l" defTabSz="343403" rtl="0" eaLnBrk="1" latinLnBrk="0" hangingPunct="1">
              <a:spcBef>
                <a:spcPct val="0"/>
              </a:spcBef>
              <a:buNone/>
              <a:defRPr sz="3200" b="0" i="0" kern="1200" baseline="0">
                <a:solidFill>
                  <a:srgbClr val="E20074"/>
                </a:solidFill>
                <a:latin typeface="Tele-GroteskUlt" pitchFamily="2" charset="0"/>
                <a:ea typeface="+mj-ea"/>
                <a:cs typeface="Tele-GroteskUlt" pitchFamily="2" charset="0"/>
              </a:defRPr>
            </a:lvl1pPr>
          </a:lstStyle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Business Case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1F366F-6A72-9540-AFBB-81BD7E644A59}"/>
              </a:ext>
            </a:extLst>
          </p:cNvPr>
          <p:cNvSpPr txBox="1"/>
          <p:nvPr/>
        </p:nvSpPr>
        <p:spPr>
          <a:xfrm>
            <a:off x="568921" y="3696041"/>
            <a:ext cx="213068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Reduce costs for suitable workloads</a:t>
            </a:r>
          </a:p>
          <a:p>
            <a:pPr marL="342900" indent="-34290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Visibility into incurred cost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88D7555-66BE-534D-969E-F8A17093AAEF}"/>
              </a:ext>
            </a:extLst>
          </p:cNvPr>
          <p:cNvSpPr txBox="1"/>
          <p:nvPr/>
        </p:nvSpPr>
        <p:spPr>
          <a:xfrm>
            <a:off x="6261102" y="3653417"/>
            <a:ext cx="210709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100% Automation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Ease of Us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Improved Developer Experience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Train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95629B-C431-9648-A584-5E539A53D6A1}"/>
              </a:ext>
            </a:extLst>
          </p:cNvPr>
          <p:cNvSpPr txBox="1"/>
          <p:nvPr/>
        </p:nvSpPr>
        <p:spPr>
          <a:xfrm>
            <a:off x="3399689" y="3669381"/>
            <a:ext cx="234461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Secure from day 1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Complete visibility into what’s being built</a:t>
            </a:r>
          </a:p>
          <a:p>
            <a:pPr marL="285750" indent="-285750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600" dirty="0">
                <a:cs typeface="Arial" pitchFamily="34" charset="0"/>
              </a:rPr>
              <a:t>Implement guardrails through the platform</a:t>
            </a:r>
          </a:p>
        </p:txBody>
      </p:sp>
      <p:pic>
        <p:nvPicPr>
          <p:cNvPr id="10" name="Graphic 9" descr="Dollar">
            <a:extLst>
              <a:ext uri="{FF2B5EF4-FFF2-40B4-BE49-F238E27FC236}">
                <a16:creationId xmlns:a16="http://schemas.microsoft.com/office/drawing/2014/main" id="{D7972349-66AE-1C45-80B2-FF241D1C7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32109" y="1843251"/>
            <a:ext cx="604308" cy="604308"/>
          </a:xfrm>
          <a:prstGeom prst="rect">
            <a:avLst/>
          </a:prstGeom>
        </p:spPr>
      </p:pic>
      <p:pic>
        <p:nvPicPr>
          <p:cNvPr id="18" name="Graphic 17" descr="Gavel">
            <a:extLst>
              <a:ext uri="{FF2B5EF4-FFF2-40B4-BE49-F238E27FC236}">
                <a16:creationId xmlns:a16="http://schemas.microsoft.com/office/drawing/2014/main" id="{065C7671-A228-0B44-AD7A-41451EA943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72502" y="1824875"/>
            <a:ext cx="604308" cy="604308"/>
          </a:xfrm>
          <a:prstGeom prst="rect">
            <a:avLst/>
          </a:prstGeom>
        </p:spPr>
      </p:pic>
      <p:pic>
        <p:nvPicPr>
          <p:cNvPr id="15" name="Graphic 14" descr="Run with solid fill">
            <a:extLst>
              <a:ext uri="{FF2B5EF4-FFF2-40B4-BE49-F238E27FC236}">
                <a16:creationId xmlns:a16="http://schemas.microsoft.com/office/drawing/2014/main" id="{5BB99A33-ED53-0B41-8786-9C64772C10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76540" y="1843653"/>
            <a:ext cx="603504" cy="60350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71101AA-921A-D74D-90BF-E77B24D22A2C}"/>
              </a:ext>
            </a:extLst>
          </p:cNvPr>
          <p:cNvSpPr txBox="1"/>
          <p:nvPr/>
        </p:nvSpPr>
        <p:spPr>
          <a:xfrm>
            <a:off x="763959" y="2841634"/>
            <a:ext cx="1685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cs typeface="Arial" pitchFamily="34" charset="0"/>
              </a:rPr>
              <a:t>Cost</a:t>
            </a:r>
            <a:r>
              <a:rPr lang="en-US" sz="2000" dirty="0">
                <a:cs typeface="Arial" pitchFamily="34" charset="0"/>
              </a:rPr>
              <a:t> Contro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B807BA3-9266-8C45-8D80-D378AD7654EC}"/>
              </a:ext>
            </a:extLst>
          </p:cNvPr>
          <p:cNvSpPr/>
          <p:nvPr/>
        </p:nvSpPr>
        <p:spPr>
          <a:xfrm>
            <a:off x="3040668" y="2714318"/>
            <a:ext cx="2867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cs typeface="Arial" pitchFamily="34" charset="0"/>
              </a:rPr>
              <a:t>Security</a:t>
            </a:r>
            <a:r>
              <a:rPr lang="en-US" sz="2000" dirty="0">
                <a:cs typeface="Arial" pitchFamily="34" charset="0"/>
              </a:rPr>
              <a:t>, </a:t>
            </a:r>
          </a:p>
          <a:p>
            <a:pPr algn="ctr"/>
            <a:r>
              <a:rPr lang="en-US" sz="2000" dirty="0">
                <a:cs typeface="Arial" pitchFamily="34" charset="0"/>
              </a:rPr>
              <a:t>Governance &amp; Complian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DD139-25FB-3049-8F56-4C9B65F76EB7}"/>
              </a:ext>
            </a:extLst>
          </p:cNvPr>
          <p:cNvSpPr/>
          <p:nvPr/>
        </p:nvSpPr>
        <p:spPr>
          <a:xfrm>
            <a:off x="5880659" y="2696344"/>
            <a:ext cx="2867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cs typeface="Arial" pitchFamily="34" charset="0"/>
              </a:rPr>
              <a:t>Reduce dependencies </a:t>
            </a:r>
          </a:p>
          <a:p>
            <a:pPr algn="ctr"/>
            <a:r>
              <a:rPr lang="en-US" sz="2000" dirty="0">
                <a:cs typeface="Arial" pitchFamily="34" charset="0"/>
              </a:rPr>
              <a:t>that hamper </a:t>
            </a:r>
            <a:r>
              <a:rPr lang="en-US" sz="2000" b="1" dirty="0">
                <a:cs typeface="Arial" pitchFamily="34" charset="0"/>
              </a:rPr>
              <a:t>agility</a:t>
            </a:r>
          </a:p>
        </p:txBody>
      </p:sp>
    </p:spTree>
    <p:extLst>
      <p:ext uri="{BB962C8B-B14F-4D97-AF65-F5344CB8AC3E}">
        <p14:creationId xmlns:p14="http://schemas.microsoft.com/office/powerpoint/2010/main" val="1155790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5937328-8127-B64F-B8A6-4A1F65303C3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latin typeface="+mn-lt"/>
            </a:endParaRPr>
          </a:p>
          <a:p>
            <a:pPr marL="0" indent="0">
              <a:buNone/>
            </a:pPr>
            <a:r>
              <a:rPr lang="en-US" dirty="0">
                <a:latin typeface="+mn-lt"/>
              </a:rPr>
              <a:t>What Developers want?</a:t>
            </a: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pPr lvl="0">
              <a:spcBef>
                <a:spcPts val="0"/>
              </a:spcBef>
            </a:pPr>
            <a:r>
              <a:rPr lang="en-US" dirty="0">
                <a:latin typeface="+mn-lt"/>
              </a:rPr>
              <a:t>Agility</a:t>
            </a:r>
          </a:p>
          <a:p>
            <a:pPr lvl="0">
              <a:spcBef>
                <a:spcPts val="0"/>
              </a:spcBef>
            </a:pPr>
            <a:r>
              <a:rPr lang="en-US" dirty="0">
                <a:latin typeface="+mn-lt"/>
              </a:rPr>
              <a:t>Faster Time to Market</a:t>
            </a:r>
          </a:p>
          <a:p>
            <a:r>
              <a:rPr lang="en-US" dirty="0">
                <a:latin typeface="+mn-lt"/>
              </a:rPr>
              <a:t>Ease of Us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6EAE77-7EF3-B24A-8B4B-7862EA1F19D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en-US" dirty="0">
              <a:latin typeface="+mn-lt"/>
            </a:endParaRPr>
          </a:p>
          <a:p>
            <a:pPr marL="0" indent="0">
              <a:buNone/>
            </a:pPr>
            <a:r>
              <a:rPr lang="en-US" dirty="0">
                <a:latin typeface="+mn-lt"/>
              </a:rPr>
              <a:t>What Management wants?</a:t>
            </a:r>
          </a:p>
          <a:p>
            <a:pPr marL="285750" lvl="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dirty="0">
              <a:latin typeface="+mn-lt"/>
            </a:endParaRPr>
          </a:p>
          <a:p>
            <a:pPr lvl="0">
              <a:spcBef>
                <a:spcPts val="0"/>
              </a:spcBef>
            </a:pPr>
            <a:r>
              <a:rPr lang="en-US" dirty="0">
                <a:latin typeface="+mn-lt"/>
              </a:rPr>
              <a:t>Governance</a:t>
            </a:r>
          </a:p>
          <a:p>
            <a:pPr lvl="0"/>
            <a:r>
              <a:rPr lang="en-US" dirty="0">
                <a:latin typeface="+mn-lt"/>
              </a:rPr>
              <a:t>Visibility </a:t>
            </a:r>
          </a:p>
          <a:p>
            <a:pPr lvl="0"/>
            <a:r>
              <a:rPr lang="en-US" dirty="0">
                <a:latin typeface="+mn-lt"/>
              </a:rPr>
              <a:t>Compliance </a:t>
            </a:r>
          </a:p>
          <a:p>
            <a:pPr lvl="0"/>
            <a:r>
              <a:rPr lang="en-US" dirty="0">
                <a:latin typeface="+mn-lt"/>
              </a:rPr>
              <a:t>Standardization</a:t>
            </a:r>
          </a:p>
          <a:p>
            <a:pPr lvl="0">
              <a:spcBef>
                <a:spcPts val="0"/>
              </a:spcBef>
            </a:pPr>
            <a:r>
              <a:rPr lang="en-US" dirty="0">
                <a:latin typeface="+mn-lt"/>
              </a:rPr>
              <a:t>Guardrails</a:t>
            </a:r>
          </a:p>
          <a:p>
            <a:pPr lvl="0">
              <a:spcBef>
                <a:spcPts val="0"/>
              </a:spcBef>
            </a:pPr>
            <a:r>
              <a:rPr lang="en-US" dirty="0">
                <a:latin typeface="+mn-lt"/>
              </a:rPr>
              <a:t>Process Contro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ED31CAE-770E-0249-9FD8-195055AC1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ea typeface="Segoe UI" panose="020B0502040204020203" pitchFamily="34" charset="0"/>
                <a:cs typeface="Segoe UI" panose="020B0502040204020203" pitchFamily="34" charset="0"/>
              </a:rPr>
              <a:t>Business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16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Title Slide">
  <a:themeElements>
    <a:clrScheme name="T-Mobile">
      <a:dk1>
        <a:srgbClr val="40404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202020"/>
      </a:accent4>
      <a:accent5>
        <a:srgbClr val="7F7F7F"/>
      </a:accent5>
      <a:accent6>
        <a:srgbClr val="E20074"/>
      </a:accent6>
      <a:hlink>
        <a:srgbClr val="E20074"/>
      </a:hlink>
      <a:folHlink>
        <a:srgbClr val="97024F"/>
      </a:folHlink>
    </a:clrScheme>
    <a:fontScheme name="Un-leash">
      <a:majorFont>
        <a:latin typeface="Tele-GroteskUlt"/>
        <a:ea typeface=""/>
        <a:cs typeface=""/>
      </a:majorFont>
      <a:minorFont>
        <a:latin typeface="Tele-GroteskH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1_Presentation Title Slide">
  <a:themeElements>
    <a:clrScheme name="T-Mobile">
      <a:dk1>
        <a:srgbClr val="40404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202020"/>
      </a:accent4>
      <a:accent5>
        <a:srgbClr val="7F7F7F"/>
      </a:accent5>
      <a:accent6>
        <a:srgbClr val="E20074"/>
      </a:accent6>
      <a:hlink>
        <a:srgbClr val="E20074"/>
      </a:hlink>
      <a:folHlink>
        <a:srgbClr val="97024F"/>
      </a:folHlink>
    </a:clrScheme>
    <a:fontScheme name="Un-leash">
      <a:majorFont>
        <a:latin typeface="Tele-GroteskUlt"/>
        <a:ea typeface=""/>
        <a:cs typeface=""/>
      </a:majorFont>
      <a:minorFont>
        <a:latin typeface="Tele-GroteskH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5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2.xml><?xml version="1.0" encoding="utf-8"?>
<a:theme xmlns:a="http://schemas.openxmlformats.org/drawingml/2006/main" name="1_Section Title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3.xml><?xml version="1.0" encoding="utf-8"?>
<a:theme xmlns:a="http://schemas.openxmlformats.org/drawingml/2006/main" name="Black_Presentation Title Slide">
  <a:themeElements>
    <a:clrScheme name="T-Mobile">
      <a:dk1>
        <a:srgbClr val="40404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202020"/>
      </a:accent4>
      <a:accent5>
        <a:srgbClr val="7F7F7F"/>
      </a:accent5>
      <a:accent6>
        <a:srgbClr val="E20074"/>
      </a:accent6>
      <a:hlink>
        <a:srgbClr val="E20074"/>
      </a:hlink>
      <a:folHlink>
        <a:srgbClr val="97024F"/>
      </a:folHlink>
    </a:clrScheme>
    <a:fontScheme name="Un-leash">
      <a:majorFont>
        <a:latin typeface="Tele-GroteskUlt"/>
        <a:ea typeface=""/>
        <a:cs typeface=""/>
      </a:majorFont>
      <a:minorFont>
        <a:latin typeface="Tele-GroteskH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19C44E6-4BAD-4896-B65A-8A4AC0816FE1}" vid="{22BDC0D0-0BF3-47F1-A3BD-09DF44203369}"/>
    </a:ext>
  </a:extLst>
</a:theme>
</file>

<file path=ppt/theme/theme14.xml><?xml version="1.0" encoding="utf-8"?>
<a:theme xmlns:a="http://schemas.openxmlformats.org/drawingml/2006/main" name="Magenta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419C44E6-4BAD-4896-B65A-8A4AC0816FE1}" vid="{87226421-9DFC-4F55-B01E-6C60A2F4AF88}"/>
    </a:ext>
  </a:extLst>
</a:theme>
</file>

<file path=ppt/theme/theme15.xml><?xml version="1.0" encoding="utf-8"?>
<a:theme xmlns:a="http://schemas.openxmlformats.org/drawingml/2006/main" name="6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6.xml><?xml version="1.0" encoding="utf-8"?>
<a:theme xmlns:a="http://schemas.openxmlformats.org/drawingml/2006/main" name="7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17.xml><?xml version="1.0" encoding="utf-8"?>
<a:theme xmlns:a="http://schemas.openxmlformats.org/drawingml/2006/main" name="Office Theme">
  <a:themeElements>
    <a:clrScheme name="T-Mobile 2.0 B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C1D82F"/>
      </a:accent4>
      <a:accent5>
        <a:srgbClr val="6DB33F"/>
      </a:accent5>
      <a:accent6>
        <a:srgbClr val="008DA8"/>
      </a:accent6>
      <a:hlink>
        <a:srgbClr val="E20074"/>
      </a:hlink>
      <a:folHlink>
        <a:srgbClr val="97024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T-Mobile 2.0 B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C1D82F"/>
      </a:accent4>
      <a:accent5>
        <a:srgbClr val="6DB33F"/>
      </a:accent5>
      <a:accent6>
        <a:srgbClr val="008DA8"/>
      </a:accent6>
      <a:hlink>
        <a:srgbClr val="E20074"/>
      </a:hlink>
      <a:folHlink>
        <a:srgbClr val="97024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fidentiality Statement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Title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Closing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1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chemeClr val="accent1"/>
          </a:solidFill>
        </a:ln>
        <a:effectLst/>
      </a:spPr>
      <a:bodyPr rtlCol="0" anchor="t" anchorCtr="0"/>
      <a:lstStyle>
        <a:defPPr>
          <a:defRPr sz="1000" b="1" dirty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SD_Light_Un-carrier PPT Template_Magenta_4x3_Sept 2015" id="{5CB1CD6D-703C-4040-83F6-FDC14F6BD1B9}" vid="{1186C939-D11E-E545-95C0-5537C06BBE21}"/>
    </a:ext>
  </a:extLst>
</a:theme>
</file>

<file path=ppt/theme/theme7.xml><?xml version="1.0" encoding="utf-8"?>
<a:theme xmlns:a="http://schemas.openxmlformats.org/drawingml/2006/main" name="2012-02-07_Master">
  <a:themeElements>
    <a:clrScheme name="T-Mobile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US">
      <a:majorFont>
        <a:latin typeface="TM AG Book Rounded Regular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solidFill>
            <a:schemeClr val="tx2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noAutofit/>
      </a:bodyPr>
      <a:lstStyle>
        <a:defPPr marL="173038" indent="-173038">
          <a:buClr>
            <a:schemeClr val="accent1"/>
          </a:buClr>
          <a:buFont typeface="Wingdings" pitchFamily="2" charset="2"/>
          <a:buChar char="§"/>
          <a:defRPr sz="14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2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T-Mobile Tele">
      <a:majorFont>
        <a:latin typeface="Tele-GroteskFe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3_Presentation Body and Information Slides">
  <a:themeElements>
    <a:clrScheme name="T-Mobile 2014">
      <a:dk1>
        <a:srgbClr val="000000"/>
      </a:dk1>
      <a:lt1>
        <a:srgbClr val="FFFFFF"/>
      </a:lt1>
      <a:dk2>
        <a:srgbClr val="000000"/>
      </a:dk2>
      <a:lt2>
        <a:srgbClr val="E8E8E8"/>
      </a:lt2>
      <a:accent1>
        <a:srgbClr val="E20074"/>
      </a:accent1>
      <a:accent2>
        <a:srgbClr val="6A6A6A"/>
      </a:accent2>
      <a:accent3>
        <a:srgbClr val="9B9B9B"/>
      </a:accent3>
      <a:accent4>
        <a:srgbClr val="E8E8E8"/>
      </a:accent4>
      <a:accent5>
        <a:srgbClr val="000000"/>
      </a:accent5>
      <a:accent6>
        <a:srgbClr val="9B9B9B"/>
      </a:accent6>
      <a:hlink>
        <a:srgbClr val="000000"/>
      </a:hlink>
      <a:folHlink>
        <a:srgbClr val="00000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>
          <a:solidFill>
            <a:schemeClr val="accent1"/>
          </a:solidFill>
        </a:ln>
        <a:effectLst/>
      </a:spPr>
      <a:bodyPr rtlCol="0" anchor="t" anchorCtr="0"/>
      <a:lstStyle>
        <a:defPPr>
          <a:defRPr sz="1000" b="1" dirty="0">
            <a:solidFill>
              <a:schemeClr val="accent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>
            <a:latin typeface="Tele-GroteskNor" pitchFamily="2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loud_OrgStrategy_Uber_20160610" id="{CB5FEE67-AABE-804E-9394-4689D0D7A1C3}" vid="{68E93B64-2DE1-4840-834C-913F0ABC666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680B0D1E1049439B5373BBE4EE4034" ma:contentTypeVersion="5" ma:contentTypeDescription="Create a new document." ma:contentTypeScope="" ma:versionID="0e9fcb09206e1e00a34a471c26f766b6">
  <xsd:schema xmlns:xsd="http://www.w3.org/2001/XMLSchema" xmlns:xs="http://www.w3.org/2001/XMLSchema" xmlns:p="http://schemas.microsoft.com/office/2006/metadata/properties" xmlns:ns1="http://schemas.microsoft.com/sharepoint/v3" xmlns:ns2="d877c67f-44b7-488d-ab62-406de2cbc255" targetNamespace="http://schemas.microsoft.com/office/2006/metadata/properties" ma:root="true" ma:fieldsID="f95614415c5a8ad69642fbae84fa6803" ns1:_="" ns2:_="">
    <xsd:import namespace="http://schemas.microsoft.com/sharepoint/v3"/>
    <xsd:import namespace="d877c67f-44b7-488d-ab62-406de2cbc25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77c67f-44b7-488d-ab62-406de2cbc25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2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3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C1BA0EC1-08B1-4C25-B946-EEDF3653A49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EA5781D-3B2F-4211-BC02-5984F60A170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877c67f-44b7-488d-ab62-406de2cbc2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F519F53-8130-4966-AEEC-1D337E7E2C5C}">
  <ds:schemaRefs>
    <ds:schemaRef ds:uri="http://purl.org/dc/elements/1.1/"/>
    <ds:schemaRef ds:uri="http://purl.org/dc/dcmitype/"/>
    <ds:schemaRef ds:uri="d877c67f-44b7-488d-ab62-406de2cbc255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64</TotalTime>
  <Words>604</Words>
  <Application>Microsoft Macintosh PowerPoint</Application>
  <PresentationFormat>On-screen Show (16:9)</PresentationFormat>
  <Paragraphs>140</Paragraphs>
  <Slides>2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9" baseType="lpstr">
      <vt:lpstr>Arial</vt:lpstr>
      <vt:lpstr>Calibri</vt:lpstr>
      <vt:lpstr>Century Gothic</vt:lpstr>
      <vt:lpstr>Segoe UI</vt:lpstr>
      <vt:lpstr>Tele-GroteskFet</vt:lpstr>
      <vt:lpstr>Tele-GroteskHal</vt:lpstr>
      <vt:lpstr>Tele-GroteskNor</vt:lpstr>
      <vt:lpstr>Tele-GroteskUlt</vt:lpstr>
      <vt:lpstr>Tele-GroteskUltra</vt:lpstr>
      <vt:lpstr>TM AG Book Rounded Regular</vt:lpstr>
      <vt:lpstr>Wingdings</vt:lpstr>
      <vt:lpstr>Presentation Title Slide</vt:lpstr>
      <vt:lpstr>Confidentiality Statements</vt:lpstr>
      <vt:lpstr>Section Title Slides</vt:lpstr>
      <vt:lpstr>Presentation Body and Information Slides</vt:lpstr>
      <vt:lpstr>Closing Slides</vt:lpstr>
      <vt:lpstr>1_Presentation Body and Information Slides</vt:lpstr>
      <vt:lpstr>2012-02-07_Master</vt:lpstr>
      <vt:lpstr>2_Presentation Body and Information Slides</vt:lpstr>
      <vt:lpstr>3_Presentation Body and Information Slides</vt:lpstr>
      <vt:lpstr>1_Presentation Title Slide</vt:lpstr>
      <vt:lpstr>5_Presentation Body and Information Slides</vt:lpstr>
      <vt:lpstr>1_Section Title Slides</vt:lpstr>
      <vt:lpstr>Black_Presentation Title Slide</vt:lpstr>
      <vt:lpstr>Magenta_Presentation Body and Information Slides</vt:lpstr>
      <vt:lpstr>6_Presentation Body and Information Slides</vt:lpstr>
      <vt:lpstr>7_Presentation Body and Information Slides</vt:lpstr>
      <vt:lpstr>think-cell Slide</vt:lpstr>
      <vt:lpstr>Why Serverless can work  for enterprises?</vt:lpstr>
      <vt:lpstr>PowerPoint Presentation</vt:lpstr>
      <vt:lpstr>PowerPoint Presentation</vt:lpstr>
      <vt:lpstr>PowerPoint Presentation</vt:lpstr>
      <vt:lpstr>Challenges</vt:lpstr>
      <vt:lpstr>PowerPoint Presentation</vt:lpstr>
      <vt:lpstr>PowerPoint Presentation</vt:lpstr>
      <vt:lpstr>PowerPoint Presentation</vt:lpstr>
      <vt:lpstr>Business Case</vt:lpstr>
      <vt:lpstr>Toolset</vt:lpstr>
      <vt:lpstr>Breaking it down</vt:lpstr>
      <vt:lpstr>Features</vt:lpstr>
      <vt:lpstr>How did Jazz help with adoption</vt:lpstr>
      <vt:lpstr>Top 5 Usecases</vt:lpstr>
      <vt:lpstr>Usecases</vt:lpstr>
      <vt:lpstr>Usecases</vt:lpstr>
      <vt:lpstr>Usecases</vt:lpstr>
      <vt:lpstr>Usecases</vt:lpstr>
      <vt:lpstr>Challenges still remain..</vt:lpstr>
      <vt:lpstr>Plan that worked for u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y Serverless can work  for enterprises?</dc:title>
  <dc:creator>Malireddi, Satish</dc:creator>
  <cp:lastModifiedBy>Malireddi, Satish</cp:lastModifiedBy>
  <cp:revision>18</cp:revision>
  <dcterms:created xsi:type="dcterms:W3CDTF">2020-12-07T07:13:32Z</dcterms:created>
  <dcterms:modified xsi:type="dcterms:W3CDTF">2020-12-07T21:48:49Z</dcterms:modified>
</cp:coreProperties>
</file>